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60" r:id="rId1"/>
    <p:sldMasterId id="2147483673" r:id="rId2"/>
  </p:sldMasterIdLst>
  <p:notesMasterIdLst>
    <p:notesMasterId r:id="rId26"/>
  </p:notesMasterIdLst>
  <p:sldIdLst>
    <p:sldId id="258" r:id="rId3"/>
    <p:sldId id="364" r:id="rId4"/>
    <p:sldId id="386" r:id="rId5"/>
    <p:sldId id="387" r:id="rId6"/>
    <p:sldId id="371" r:id="rId7"/>
    <p:sldId id="388" r:id="rId8"/>
    <p:sldId id="385" r:id="rId9"/>
    <p:sldId id="354" r:id="rId10"/>
    <p:sldId id="362" r:id="rId11"/>
    <p:sldId id="355" r:id="rId12"/>
    <p:sldId id="383" r:id="rId13"/>
    <p:sldId id="382" r:id="rId14"/>
    <p:sldId id="384" r:id="rId15"/>
    <p:sldId id="330" r:id="rId16"/>
    <p:sldId id="331" r:id="rId17"/>
    <p:sldId id="389" r:id="rId18"/>
    <p:sldId id="360" r:id="rId19"/>
    <p:sldId id="328" r:id="rId20"/>
    <p:sldId id="329" r:id="rId21"/>
    <p:sldId id="319" r:id="rId22"/>
    <p:sldId id="314" r:id="rId23"/>
    <p:sldId id="316" r:id="rId24"/>
    <p:sldId id="361" r:id="rId25"/>
  </p:sldIdLst>
  <p:sldSz cx="12192000" cy="6858000"/>
  <p:notesSz cx="6797675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DF6F9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19" autoAdjust="0"/>
    <p:restoredTop sz="92829" autoAdjust="0"/>
  </p:normalViewPr>
  <p:slideViewPr>
    <p:cSldViewPr snapToGrid="0">
      <p:cViewPr>
        <p:scale>
          <a:sx n="50" d="100"/>
          <a:sy n="50" d="100"/>
        </p:scale>
        <p:origin x="28" y="48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8D9AA1-C541-4E62-87A5-3445A943688F}" type="datetimeFigureOut">
              <a:rPr lang="en-US" smtClean="0"/>
              <a:t>12/4/2024</a:t>
            </a:fld>
            <a:endParaRPr lang="en-US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0692BC-95CD-49EB-A80F-61093A97EB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322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0692BC-95CD-49EB-A80F-61093A97EB0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601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331BD-3BEE-4067-9D16-AE89B49EEE74}" type="slidenum">
              <a:rPr lang="ru-RU" smtClean="0"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885665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0692BC-95CD-49EB-A80F-61093A97EB0F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60142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1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Подзаголовок 3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705179-D54C-4DF2-9593-0CC575370DE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45166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47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A59978-CED7-4DB7-A16B-1B08BF5C4A0A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56685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71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7741AA-2A09-4BB9-BF97-A1687891A61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68869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95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53F216-4239-4909-ACC1-9ADCA1C416C9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81434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4212" y="685799"/>
            <a:ext cx="8001000" cy="2971801"/>
          </a:xfrm>
        </p:spPr>
        <p:txBody>
          <a:bodyPr anchor="b">
            <a:normAutofit/>
          </a:bodyPr>
          <a:lstStyle>
            <a:lvl1pPr algn="l">
              <a:defRPr sz="4800">
                <a:effectLst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4212" y="3843867"/>
            <a:ext cx="6400800" cy="1947333"/>
          </a:xfrm>
        </p:spPr>
        <p:txBody>
          <a:bodyPr anchor="t">
            <a:normAutofit/>
          </a:bodyPr>
          <a:lstStyle>
            <a:lvl1pPr marL="0" indent="0" algn="l">
              <a:buNone/>
              <a:defRPr sz="21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8228012" y="8467"/>
            <a:ext cx="3810000" cy="381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6108170" y="91545"/>
            <a:ext cx="6080655" cy="60806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7235825" y="228600"/>
            <a:ext cx="4953000" cy="4953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7335837" y="32278"/>
            <a:ext cx="4852989" cy="485298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7845426" y="609601"/>
            <a:ext cx="4343399" cy="43433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98386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26232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1" y="2006600"/>
            <a:ext cx="8534401" cy="2281600"/>
          </a:xfrm>
        </p:spPr>
        <p:txBody>
          <a:bodyPr anchor="b">
            <a:normAutofit/>
          </a:bodyPr>
          <a:lstStyle>
            <a:lvl1pPr algn="l">
              <a:defRPr sz="36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495800"/>
            <a:ext cx="8534400" cy="14986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69639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4211" y="685800"/>
            <a:ext cx="4937655" cy="3615267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08133" y="685801"/>
            <a:ext cx="4934479" cy="3615266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44568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2080" y="685800"/>
            <a:ext cx="4649787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4211" y="1270529"/>
            <a:ext cx="4937655" cy="3030538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79066" y="685800"/>
            <a:ext cx="4665134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06545" y="1262062"/>
            <a:ext cx="4929188" cy="3030538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26353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44716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25041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5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9FB038-8264-4283-AEC2-60FC221556BA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51452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5012" y="685800"/>
            <a:ext cx="3657600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4212" y="685800"/>
            <a:ext cx="5943601" cy="5308600"/>
          </a:xfrm>
        </p:spPr>
        <p:txBody>
          <a:bodyPr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085012" y="2209799"/>
            <a:ext cx="3657600" cy="2091267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33720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2812" y="1447800"/>
            <a:ext cx="6019800" cy="11430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89012" y="914400"/>
            <a:ext cx="3280974" cy="45720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2812" y="2777066"/>
            <a:ext cx="6021388" cy="2048933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79577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анорамная фотография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685800" y="533400"/>
            <a:ext cx="10818812" cy="31242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2" y="3843867"/>
            <a:ext cx="8304210" cy="457200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36653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anchor="ctr">
            <a:normAutofit/>
          </a:bodyPr>
          <a:lstStyle>
            <a:lvl1pPr algn="l">
              <a:defRPr sz="32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4114800"/>
            <a:ext cx="8535988" cy="18796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84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685800"/>
            <a:ext cx="9144001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46212" y="3429000"/>
            <a:ext cx="8534400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301067"/>
            <a:ext cx="8534400" cy="1684865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23748347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2" y="3429000"/>
            <a:ext cx="8534400" cy="1697400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5132981"/>
            <a:ext cx="8535990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396779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685800"/>
            <a:ext cx="9144000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1" cy="104986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978400"/>
            <a:ext cx="8534401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“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21902282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0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766732"/>
            <a:ext cx="8534401" cy="122766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267916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604768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5212" y="685800"/>
            <a:ext cx="2057400" cy="45720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85800"/>
            <a:ext cx="7823200" cy="5308600"/>
          </a:xfrm>
        </p:spPr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46136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9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E3DC23-AA3E-408A-9236-DBAB42FCE94E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12649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3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E357E-3CB2-45EB-B8F1-A2F73E8D5B5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39422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27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8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9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A76D7F-1DB5-43D0-9729-873B4208B0B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41871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2F2F2">
            <a:alpha val="50195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51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4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8469" y="205748"/>
            <a:ext cx="10515600" cy="900150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100" b="1" kern="1200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9142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0F8AF6-415D-4D69-9EE0-FE9916997A28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00273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75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4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8469" y="205748"/>
            <a:ext cx="10515600" cy="900150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100" b="1" kern="1200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9142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16506E-BD4C-4445-941D-C8119941169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02939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99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2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983538" y="136525"/>
            <a:ext cx="4114800" cy="365125"/>
          </a:xfrm>
        </p:spPr>
        <p:txBody>
          <a:bodyPr/>
          <a:lstStyle>
            <a:lvl1pPr>
              <a:defRPr dirty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9269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91704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3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F75360-4826-41AB-98FC-3FD61FA4797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67769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>
            <a:alpha val="30196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think-cell data - do not delete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7" name="Слайд think-cell" r:id="rId16" imgW="360" imgH="360" progId="TCLayout.ActiveDocument.1">
                  <p:embed/>
                </p:oleObj>
              </mc:Choice>
              <mc:Fallback>
                <p:oleObj name="Слайд think-cell" r:id="rId16" imgW="360" imgH="360" progId="TCLayout.ActiveDocument.1">
                  <p:embed/>
                  <p:pic>
                    <p:nvPicPr>
                      <p:cNvPr id="102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Заголовок 2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/>
              <a:t>Образец заголовка</a:t>
            </a:r>
            <a:endParaRPr lang="en-US" altLang="en-US"/>
          </a:p>
        </p:txBody>
      </p:sp>
      <p:sp>
        <p:nvSpPr>
          <p:cNvPr id="1028" name="Текст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/>
              <a:t>Образец текста</a:t>
            </a:r>
          </a:p>
          <a:p>
            <a:pPr lvl="1"/>
            <a:r>
              <a:rPr lang="ru-RU" altLang="en-US"/>
              <a:t>Второй уровень</a:t>
            </a:r>
          </a:p>
          <a:p>
            <a:pPr lvl="2"/>
            <a:r>
              <a:rPr lang="ru-RU" altLang="en-US"/>
              <a:t>Третий уровень</a:t>
            </a:r>
          </a:p>
          <a:p>
            <a:pPr lvl="3"/>
            <a:r>
              <a:rPr lang="ru-RU" altLang="en-US"/>
              <a:t>Четвертый уровень</a:t>
            </a:r>
          </a:p>
          <a:p>
            <a:pPr lvl="4"/>
            <a:r>
              <a:rPr lang="ru-RU" altLang="en-US"/>
              <a:t>Пятый уровень</a:t>
            </a:r>
            <a:endParaRPr lang="en-US" altLang="en-US"/>
          </a:p>
        </p:txBody>
      </p:sp>
      <p:sp>
        <p:nvSpPr>
          <p:cNvPr id="5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5192F1-E905-494F-B976-BA88E09B673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4073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fontAlgn="base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9206969" y="2963333"/>
            <a:ext cx="2981858" cy="3208867"/>
            <a:chOff x="9206969" y="2963333"/>
            <a:chExt cx="2981858" cy="3208867"/>
          </a:xfrm>
        </p:grpSpPr>
        <p:cxnSp>
          <p:nvCxnSpPr>
            <p:cNvPr id="8" name="Straight Connector 7"/>
            <p:cNvCxnSpPr/>
            <p:nvPr/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4212" y="4487332"/>
            <a:ext cx="8534400" cy="150706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685800"/>
            <a:ext cx="8534400" cy="36152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904412" y="6172200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4212" y="6172200"/>
            <a:ext cx="75438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63200" y="5578475"/>
            <a:ext cx="1142245" cy="669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32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795625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20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8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6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100000">
              <a:schemeClr val="tx1"/>
            </a:gs>
            <a:gs pos="64000">
              <a:schemeClr val="bg2">
                <a:shade val="96000"/>
                <a:satMod val="120000"/>
                <a:lumMod val="97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3898232"/>
            <a:ext cx="12192000" cy="295976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0" y="1464887"/>
            <a:ext cx="12192000" cy="231866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defRPr/>
            </a:pPr>
            <a:r>
              <a:rPr lang="ru-RU" altLang="en-US" sz="4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оговый кодекс</a:t>
            </a:r>
            <a:endParaRPr lang="en-US" altLang="en-US" sz="48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>
              <a:defRPr/>
            </a:pPr>
            <a:r>
              <a:rPr lang="kk-KZ" altLang="en-US" sz="4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ая часть</a:t>
            </a:r>
            <a:r>
              <a:rPr kumimoji="0" lang="ru-RU" alt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/>
            </a:r>
            <a:br>
              <a:rPr kumimoji="0" lang="ru-RU" alt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endParaRPr kumimoji="0" lang="ru-RU" altLang="en-US" sz="4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0" y="6271828"/>
            <a:ext cx="12192000" cy="471488"/>
          </a:xfrm>
        </p:spPr>
        <p:txBody>
          <a:bodyPr rtlCol="0" anchor="ctr">
            <a:norm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ru-RU" sz="14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</a:t>
            </a:r>
            <a:r>
              <a:rPr lang="en-US" sz="14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тана, 2024</a:t>
            </a:r>
            <a:r>
              <a:rPr lang="en-US" sz="14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</a:t>
            </a:r>
          </a:p>
        </p:txBody>
      </p:sp>
    </p:spTree>
    <p:extLst>
      <p:ext uri="{BB962C8B-B14F-4D97-AF65-F5344CB8AC3E}">
        <p14:creationId xmlns:p14="http://schemas.microsoft.com/office/powerpoint/2010/main" val="32772173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algn="ctr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     ПОСТАНОВКА НА УЧЕТ ПЛАТЕЛЬЩИКА НДС</a:t>
            </a: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204258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>
                <a:latin typeface="Arial" panose="020B0604020202020204" pitchFamily="34" charset="0"/>
                <a:cs typeface="Arial" panose="020B0604020202020204" pitchFamily="34" charset="0"/>
              </a:rPr>
              <a:t>9</a:t>
            </a:fld>
            <a:endParaRPr lang="en-US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228975" y="1099505"/>
            <a:ext cx="17508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ловная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113828" y="1091043"/>
            <a:ext cx="222573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бровольная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4982361" y="1091043"/>
            <a:ext cx="22272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язательная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8468263" y="1493267"/>
            <a:ext cx="327228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остранные</a:t>
            </a:r>
            <a:r>
              <a:rPr lang="ru-RU" sz="16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ании- интернет площадки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760144" y="1443608"/>
            <a:ext cx="297323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достижения предельного порога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4468735" y="1468837"/>
            <a:ext cx="3254529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превышении предельного порога 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реализация + приобретение от нерезидента)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DCE3981-6046-4B75-8A91-3AD79FB6BFDC}"/>
              </a:ext>
            </a:extLst>
          </p:cNvPr>
          <p:cNvSpPr txBox="1"/>
          <p:nvPr/>
        </p:nvSpPr>
        <p:spPr>
          <a:xfrm>
            <a:off x="590457" y="2811526"/>
            <a:ext cx="1115009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При добровольной и обязательной постановке на учет проводится биометрическая идентификация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DCE3981-6046-4B75-8A91-3AD79FB6BFDC}"/>
              </a:ext>
            </a:extLst>
          </p:cNvPr>
          <p:cNvSpPr txBox="1"/>
          <p:nvPr/>
        </p:nvSpPr>
        <p:spPr>
          <a:xfrm>
            <a:off x="4716553" y="3408018"/>
            <a:ext cx="6903018" cy="22006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>
              <a:spcBef>
                <a:spcPts val="6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ударственное учреждение</a:t>
            </a:r>
          </a:p>
          <a:p>
            <a:pPr marL="285750" lvl="4" indent="-285750">
              <a:spcBef>
                <a:spcPts val="6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уктурное подразделение юридического лица-резидента</a:t>
            </a:r>
            <a:endParaRPr lang="ru-RU" sz="1600" b="1" i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>
              <a:spcBef>
                <a:spcPts val="6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цо, занимающееся частной практикой</a:t>
            </a:r>
          </a:p>
          <a:p>
            <a:pPr marL="285750" lvl="4" indent="-285750">
              <a:spcBef>
                <a:spcPts val="6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огоплательщик, применяющий специальный налоговый режим</a:t>
            </a:r>
            <a:endParaRPr lang="ru-RU" sz="1600" i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>
              <a:spcBef>
                <a:spcPts val="6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зическое лицо</a:t>
            </a:r>
          </a:p>
          <a:p>
            <a:pPr marL="285750" lvl="4" indent="-285750">
              <a:spcBef>
                <a:spcPts val="6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горный бизнес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446776" y="4232697"/>
            <a:ext cx="355984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Не подлежат постановке на учет по НДС</a:t>
            </a:r>
            <a:endParaRPr lang="ru-RU" sz="2000" b="1" u="sng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6" name="Правая фигурная скобка 15">
            <a:extLst>
              <a:ext uri="{FF2B5EF4-FFF2-40B4-BE49-F238E27FC236}">
                <a16:creationId xmlns:a16="http://schemas.microsoft.com/office/drawing/2014/main" id="{125B16CE-0B9A-4277-BC90-B2243C0B539A}"/>
              </a:ext>
            </a:extLst>
          </p:cNvPr>
          <p:cNvSpPr/>
          <p:nvPr/>
        </p:nvSpPr>
        <p:spPr>
          <a:xfrm rot="10800000">
            <a:off x="4149302" y="3445727"/>
            <a:ext cx="467085" cy="2090749"/>
          </a:xfrm>
          <a:prstGeom prst="rightBrace">
            <a:avLst>
              <a:gd name="adj1" fmla="val 114144"/>
              <a:gd name="adj2" fmla="val 50824"/>
            </a:avLst>
          </a:prstGeom>
          <a:ln w="38100">
            <a:solidFill>
              <a:schemeClr val="accent3">
                <a:lumMod val="75000"/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869232" y="2334234"/>
            <a:ext cx="718414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ельный порог для постановки на учет по НДС – 20 000 МРП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59483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06A494-8E61-01B7-FA3F-72FDD54040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D0E7281F-3CB1-79A3-2422-70E949F5F234}"/>
              </a:ext>
            </a:extLst>
          </p:cNvPr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algn="ctr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РЕЕСТР БЕЗДЕЙСТВУЮЩИХ НАЛОГОПЛАТЕЛЬЩИКОВ 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A3B218D-539A-09F5-1298-D90BAAEA69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176B006-6A0E-DA49-58FA-6740C0AC4B53}"/>
              </a:ext>
            </a:extLst>
          </p:cNvPr>
          <p:cNvSpPr txBox="1"/>
          <p:nvPr/>
        </p:nvSpPr>
        <p:spPr>
          <a:xfrm>
            <a:off x="219809" y="1193017"/>
            <a:ext cx="11711354" cy="33547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6213" lvl="4" indent="-176213" algn="just">
              <a:spcAft>
                <a:spcPts val="1200"/>
              </a:spcAft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алогоплательщик (ЮЛ, ИП) самостоятельно не представил налоговую отчетность в течение 12 месяцев</a:t>
            </a:r>
          </a:p>
          <a:p>
            <a:pPr marL="176213" lvl="4" indent="-176213" algn="just">
              <a:spcAft>
                <a:spcPts val="1200"/>
              </a:spcAft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 позднее 30 апреля - решение о включении налогоплательщика в реестр бездействующих налогоплательщиков (НП)</a:t>
            </a:r>
          </a:p>
          <a:p>
            <a:pPr marL="176213" lvl="4" indent="-176213" algn="just">
              <a:spcAft>
                <a:spcPts val="1200"/>
              </a:spcAft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азмещение реестра бездействующих НП на интернет-ресурсе уполномоченного органа  </a:t>
            </a:r>
          </a:p>
          <a:p>
            <a:pPr marL="176213" lvl="4" indent="-176213" algn="just">
              <a:spcAft>
                <a:spcPts val="1200"/>
              </a:spcAft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сключение налогоплательщика из реестра бездействующих НП после представления дополнительной налоговой отчетности к «нулевой» очередной, сформированной ИС за НП</a:t>
            </a:r>
          </a:p>
          <a:p>
            <a:pPr marL="176213" lvl="4" indent="-176213" algn="just">
              <a:spcAft>
                <a:spcPts val="1200"/>
              </a:spcAft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азмещение обновленного реестра бездействующих НП на интернет-ресурсе уполномоченного органа </a:t>
            </a:r>
          </a:p>
          <a:p>
            <a:pPr marL="176213" lvl="4" indent="-176213" algn="just">
              <a:spcAft>
                <a:spcPts val="1200"/>
              </a:spcAft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сключение НП из реестра бездействующих НП одновременно при исключении из реестра номеров (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рим. реестра ЮЛ в ведении МЮ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, а также снятого с регистрационного учета ИП.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7738905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06A494-8E61-01B7-FA3F-72FDD54040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D0E7281F-3CB1-79A3-2422-70E949F5F234}"/>
              </a:ext>
            </a:extLst>
          </p:cNvPr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algn="ctr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ПРИНУДИТЕЛЬНАЯ ЛИКВИДАЦИЯ НАЛОГОПЛАТЕЛЬЩИКА 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A3B218D-539A-09F5-1298-D90BAAEA69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176B006-6A0E-DA49-58FA-6740C0AC4B53}"/>
              </a:ext>
            </a:extLst>
          </p:cNvPr>
          <p:cNvSpPr txBox="1"/>
          <p:nvPr/>
        </p:nvSpPr>
        <p:spPr>
          <a:xfrm>
            <a:off x="246185" y="1147736"/>
            <a:ext cx="11676184" cy="541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4" indent="-285750">
              <a:spcAft>
                <a:spcPts val="1200"/>
              </a:spcAft>
              <a:buClr>
                <a:srgbClr val="000000"/>
              </a:buClr>
              <a:buFont typeface="Wingdings" pitchFamily="2" charset="2"/>
              <a:buChar char="Ø"/>
              <a:tabLst>
                <a:tab pos="10281920" algn="l"/>
              </a:tabLst>
              <a:defRPr/>
            </a:pP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ринудительное прекращение деятельности бездействующего налогоплательщика (НП) при одновременном соответствии по состоянию на 1 января условиям, в том числе: </a:t>
            </a:r>
          </a:p>
          <a:p>
            <a:pPr marL="1074738" lvl="4">
              <a:spcAft>
                <a:spcPts val="1200"/>
              </a:spcAft>
              <a:buClr>
                <a:srgbClr val="000000"/>
              </a:buClr>
              <a:buFont typeface="Wingdings" pitchFamily="2" charset="2"/>
              <a:buChar char="ü"/>
              <a:tabLst>
                <a:tab pos="1028192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мостоятельно не представлявший налоговую отчетность</a:t>
            </a:r>
          </a:p>
          <a:p>
            <a:pPr marL="1074738" lvl="4" algn="just">
              <a:spcAft>
                <a:spcPts val="1200"/>
              </a:spcAft>
              <a:buClr>
                <a:srgbClr val="000000"/>
              </a:buClr>
              <a:buFont typeface="Wingdings" pitchFamily="2" charset="2"/>
              <a:buChar char="ü"/>
              <a:tabLst>
                <a:tab pos="1028192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 являющийся руководителем/учредителем другого ЮЛ, участником совместного предпринимательства</a:t>
            </a:r>
          </a:p>
          <a:p>
            <a:pPr marL="1074738" lvl="4" algn="just">
              <a:spcAft>
                <a:spcPts val="1200"/>
              </a:spcAft>
              <a:buClr>
                <a:srgbClr val="000000"/>
              </a:buClr>
              <a:buFont typeface="Wingdings" pitchFamily="2" charset="2"/>
              <a:buChar char="ü"/>
              <a:tabLst>
                <a:tab pos="1028192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 плательщики НДС</a:t>
            </a:r>
          </a:p>
          <a:p>
            <a:pPr marL="1074738" lvl="4" algn="just">
              <a:spcAft>
                <a:spcPts val="1200"/>
              </a:spcAft>
              <a:buClr>
                <a:srgbClr val="000000"/>
              </a:buClr>
              <a:buFont typeface="Wingdings" pitchFamily="2" charset="2"/>
              <a:buChar char="ü"/>
              <a:tabLst>
                <a:tab pos="1028192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 осуществляют банковские операции в течение срока исковой давности</a:t>
            </a:r>
          </a:p>
          <a:p>
            <a:pPr marL="1074738" lvl="4" algn="just">
              <a:spcAft>
                <a:spcPts val="1200"/>
              </a:spcAft>
              <a:buClr>
                <a:srgbClr val="000000"/>
              </a:buClr>
              <a:buFont typeface="Wingdings" pitchFamily="2" charset="2"/>
              <a:buChar char="ü"/>
              <a:tabLst>
                <a:tab pos="1028192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 имеющие задолженность перед бюджетом </a:t>
            </a:r>
          </a:p>
          <a:p>
            <a:pPr marL="285750" lvl="4" indent="-285750" algn="just">
              <a:spcAft>
                <a:spcPts val="1200"/>
              </a:spcAft>
              <a:buClr>
                <a:srgbClr val="000000"/>
              </a:buClr>
              <a:buFont typeface="Wingdings" pitchFamily="2" charset="2"/>
              <a:buChar char="Ø"/>
              <a:tabLst>
                <a:tab pos="10281920" algn="l"/>
              </a:tabLst>
              <a:defRPr/>
            </a:pP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пределение уполномоченным органом порядка и сроков принудительного прекращения деятельности:</a:t>
            </a:r>
          </a:p>
          <a:p>
            <a:pPr marL="1074738" lvl="4">
              <a:spcAft>
                <a:spcPts val="1200"/>
              </a:spcAft>
              <a:buClr>
                <a:srgbClr val="000000"/>
              </a:buClr>
              <a:buFont typeface="Wingdings" pitchFamily="2" charset="2"/>
              <a:buChar char="ü"/>
              <a:tabLst>
                <a:tab pos="1028192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жегодное формирование перечня субъектов для принудительной ликвидации, размещение перечня в СМИ, направление запросов в банки, УГО, регистрирующий орган</a:t>
            </a:r>
          </a:p>
          <a:p>
            <a:pPr marL="1074738" lvl="4">
              <a:spcAft>
                <a:spcPts val="1200"/>
              </a:spcAft>
              <a:buClr>
                <a:srgbClr val="000000"/>
              </a:buClr>
              <a:buFont typeface="Wingdings" pitchFamily="2" charset="2"/>
              <a:buChar char="ü"/>
              <a:tabLst>
                <a:tab pos="1028192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жегодное формирование окончательного перечня субъектов для принудительной ликвидации</a:t>
            </a:r>
          </a:p>
          <a:p>
            <a:pPr marL="285750" lvl="4" indent="-285750" algn="just">
              <a:spcAft>
                <a:spcPts val="1200"/>
              </a:spcAft>
              <a:buClr>
                <a:srgbClr val="000000"/>
              </a:buClr>
              <a:buFont typeface="Wingdings" pitchFamily="2" charset="2"/>
              <a:buChar char="ü"/>
              <a:tabLst>
                <a:tab pos="10281920" algn="l"/>
              </a:tabLst>
              <a:defRPr/>
            </a:pP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ринудительная ликвидация бездействующих ЮЛ налоговыми органами путем подачи иска в суд</a:t>
            </a:r>
          </a:p>
          <a:p>
            <a:pPr marL="285750" lvl="4" indent="-285750" algn="just">
              <a:spcAft>
                <a:spcPts val="1200"/>
              </a:spcAft>
              <a:buClr>
                <a:srgbClr val="000000"/>
              </a:buClr>
              <a:buFont typeface="Wingdings" pitchFamily="2" charset="2"/>
              <a:buChar char="ü"/>
              <a:tabLst>
                <a:tab pos="10281920" algn="l"/>
              </a:tabLst>
              <a:defRPr/>
            </a:pP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ринудительная ликвидация бездействующих ИП налоговыми органами без подачи иска в суд</a:t>
            </a:r>
          </a:p>
          <a:p>
            <a:pPr marL="0" lvl="4" algn="just">
              <a:spcAft>
                <a:spcPts val="1200"/>
              </a:spcAft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  </a:t>
            </a:r>
            <a:endParaRPr lang="ru-RU" sz="1600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00760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06A494-8E61-01B7-FA3F-72FDD54040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D0E7281F-3CB1-79A3-2422-70E949F5F234}"/>
              </a:ext>
            </a:extLst>
          </p:cNvPr>
          <p:cNvSpPr/>
          <p:nvPr/>
        </p:nvSpPr>
        <p:spPr>
          <a:xfrm>
            <a:off x="0" y="0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2438" indent="88900" algn="ctr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НАЛОГОВЫЕ ФОРМЫ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2B67832-E8B9-3B9E-A384-104D1FDEAB91}"/>
              </a:ext>
            </a:extLst>
          </p:cNvPr>
          <p:cNvSpPr txBox="1"/>
          <p:nvPr/>
        </p:nvSpPr>
        <p:spPr>
          <a:xfrm>
            <a:off x="554090" y="1357003"/>
            <a:ext cx="11381594" cy="378565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285750" lvl="4" indent="-285750">
              <a:spcAft>
                <a:spcPts val="1200"/>
              </a:spcAft>
              <a:buClr>
                <a:srgbClr val="000000"/>
              </a:buClr>
              <a:buFont typeface="Wingdings" pitchFamily="2" charset="2"/>
              <a:buChar char="Ø"/>
              <a:tabLst>
                <a:tab pos="10281920" algn="l"/>
              </a:tabLst>
              <a:defRPr/>
            </a:pP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окращение форм налоговой отчетности на 30 процентов, в том числе:</a:t>
            </a:r>
          </a:p>
          <a:p>
            <a:pPr marL="1255713" lvl="4" indent="-358775">
              <a:spcAft>
                <a:spcPts val="1200"/>
              </a:spcAft>
              <a:buClr>
                <a:srgbClr val="000000"/>
              </a:buClr>
              <a:buFont typeface="Wingdings" pitchFamily="2" charset="2"/>
              <a:buChar char="v"/>
              <a:tabLst>
                <a:tab pos="1028065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тмена расчета текущих платежей по земельному налогу и налогу на имущество (форма 701.01) при     налоговых обязательствах менее 300 МРП (1 млн.тенге)</a:t>
            </a:r>
          </a:p>
          <a:p>
            <a:pPr marL="1255713" lvl="4" indent="-358775">
              <a:spcAft>
                <a:spcPts val="1200"/>
              </a:spcAft>
              <a:buClr>
                <a:srgbClr val="000000"/>
              </a:buClr>
              <a:buFont typeface="Wingdings" pitchFamily="2" charset="2"/>
              <a:buChar char="v"/>
              <a:tabLst>
                <a:tab pos="1028192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тмена расчета по налогу на транспорт (форма 701.00) для ЮЛ</a:t>
            </a:r>
          </a:p>
          <a:p>
            <a:pPr marL="1255713" lvl="4" indent="-358775">
              <a:spcAft>
                <a:spcPts val="1200"/>
              </a:spcAft>
              <a:buClr>
                <a:srgbClr val="000000"/>
              </a:buClr>
              <a:buFont typeface="Wingdings" pitchFamily="2" charset="2"/>
              <a:buChar char="v"/>
              <a:tabLst>
                <a:tab pos="1028192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Упрощение содержимого налоговой отчетности: исключение в формах излишней информации</a:t>
            </a:r>
          </a:p>
          <a:p>
            <a:pPr marL="1255713" lvl="4" indent="-358775">
              <a:spcAft>
                <a:spcPts val="1200"/>
              </a:spcAft>
              <a:buClr>
                <a:srgbClr val="000000"/>
              </a:buClr>
              <a:buFont typeface="Wingdings" pitchFamily="2" charset="2"/>
              <a:buChar char="v"/>
              <a:tabLst>
                <a:tab pos="1028192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асширение содержимого налоговой отчетности </a:t>
            </a:r>
            <a:r>
              <a:rPr lang="ru-RU" sz="14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(н-р, по КПН ф.100.00 с отображением льгот)  </a:t>
            </a:r>
          </a:p>
          <a:p>
            <a:pPr marL="285750" lvl="4" indent="-285750">
              <a:spcAft>
                <a:spcPts val="1200"/>
              </a:spcAft>
              <a:buClr>
                <a:srgbClr val="000000"/>
              </a:buClr>
              <a:buFont typeface="Wingdings" pitchFamily="2" charset="2"/>
              <a:buChar char="Ø"/>
              <a:tabLst>
                <a:tab pos="10281920" algn="l"/>
              </a:tabLst>
              <a:defRPr/>
            </a:pP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сли налогоплательщик не подаст налоговую отчетность, система автоматически засчитает её как нулевую, с сохранением НП права на предоставление ДФНО при необходимости </a:t>
            </a:r>
          </a:p>
          <a:p>
            <a:pPr marL="285750" lvl="4" indent="-285750">
              <a:spcAft>
                <a:spcPts val="1200"/>
              </a:spcAft>
              <a:buClr>
                <a:srgbClr val="000000"/>
              </a:buClr>
              <a:buFont typeface="Wingdings" pitchFamily="2" charset="2"/>
              <a:buChar char="Ø"/>
              <a:tabLst>
                <a:tab pos="10281920" algn="l"/>
              </a:tabLst>
              <a:defRPr/>
            </a:pP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сключение отзыва налоговой отчетности (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стается корректировка ФНО путем подачи ДФНО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 </a:t>
            </a:r>
          </a:p>
          <a:p>
            <a:pPr marL="285750" lvl="4" indent="-285750">
              <a:spcAft>
                <a:spcPts val="1200"/>
              </a:spcAft>
              <a:buClr>
                <a:srgbClr val="000000"/>
              </a:buClr>
              <a:buFont typeface="Wingdings" pitchFamily="2" charset="2"/>
              <a:buChar char="Ø"/>
              <a:tabLst>
                <a:tab pos="10281920" algn="l"/>
              </a:tabLst>
              <a:defRPr/>
            </a:pP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сключение продления сроков представления налоговой отчетности 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(ИС формирует «0» ФНО) 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A3B218D-539A-09F5-1298-D90BAAEA69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29703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algn="ctr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ВОЗВРАТ ПРЕВЫШЕНИЯ НДС 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13</a:t>
            </a:fld>
            <a:endParaRPr lang="en-US" sz="105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153445" y="928452"/>
            <a:ext cx="11647489" cy="37240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lnSpc>
                <a:spcPct val="150000"/>
              </a:lnSpc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врат превышения НДС производится: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нулевой ставке 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экспорт, международные перевозки, реализация в СЭЗ)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в общеустановленном порядке  (ОПВ) или в упрощенном порядке (УПВ)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выбору НП</a:t>
            </a: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) при постоянной реализации по нулевой ставке – </a:t>
            </a:r>
            <a:r>
              <a:rPr lang="ru-RU" sz="14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мма превышения НДС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) при не постоянной реализации – </a:t>
            </a:r>
            <a:r>
              <a:rPr lang="ru-RU" sz="14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асть суммы НДС, отнесенного в зачет по ТРУ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использованным для целей оборота по реализации, облагаемого по нулевой ставке.</a:t>
            </a: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оянная реализация – 3 квартала подряд доля нулевой ставки должно быть более 70%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затратам на геологоразведку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рамках контракта на недропользование 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в течение 20-ти налоговых периодов после начала добычи)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ОПВ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затратам на строительство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долгосрочному контракту 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в течение 20-ти налоговых периодов после ввода в эксплуатацию, а по крупным инвестиционным проектам</a:t>
            </a:r>
            <a:r>
              <a:rPr lang="ru-RU" sz="1400" b="1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 течение 55 рабочих дней в период строительства</a:t>
            </a:r>
            <a:r>
              <a:rPr lang="ru-RU" sz="14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ОПВ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DCE3981-6046-4B75-8A91-3AD79FB6BFDC}"/>
              </a:ext>
            </a:extLst>
          </p:cNvPr>
          <p:cNvSpPr txBox="1"/>
          <p:nvPr/>
        </p:nvSpPr>
        <p:spPr>
          <a:xfrm>
            <a:off x="272255" y="4799197"/>
            <a:ext cx="11647489" cy="18466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мена отсрочки по представлению налоговой отчетности сокращает сроки возврата на месяц </a:t>
            </a: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6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срок сейчас начинается со дня истечения отсрочки)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несвоевременном возврате суммы превышения НДС: 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вине налогового органа – начисляются пени 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недостаточности средств в бюджете – пени не начисляются</a:t>
            </a:r>
            <a:endParaRPr lang="ru-RU" sz="16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75443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algn="ctr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ОБЩЕУСТАНОВЛЕННЫЙ ПОРЯДОК ВОЗВРАТА НДС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14</a:t>
            </a:fld>
            <a:endParaRPr lang="en-US" sz="105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514709" y="1007503"/>
            <a:ext cx="11162582" cy="1007968"/>
          </a:xfrm>
          <a:prstGeom prst="rect">
            <a:avLst/>
          </a:prstGeom>
          <a:noFill/>
          <a:ln>
            <a:noFill/>
            <a:prstDash val="dash"/>
          </a:ln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ок  возврата -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5 рабочих дней 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сокращены сроки возврата НДС с 75 рабочих дней при не постоянной реализации) 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 дня истечения срока представления отчетности, не важно когда начата проверка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kk-KZ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ряется 2 вопроса: правильность исчисления НДС и подтверждение НДС к возврату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ECF83033-FA70-4B58-8961-2DEDB19A4C03}"/>
              </a:ext>
            </a:extLst>
          </p:cNvPr>
          <p:cNvSpPr/>
          <p:nvPr/>
        </p:nvSpPr>
        <p:spPr>
          <a:xfrm>
            <a:off x="0" y="2115583"/>
            <a:ext cx="12192000" cy="509763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 algn="ctr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УПРОЩЕННЫЙ ПОРЯДОК ВОЗВРАТА НДС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/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99796E4-C2FF-4A95-832C-BE2059000F33}"/>
              </a:ext>
            </a:extLst>
          </p:cNvPr>
          <p:cNvSpPr txBox="1"/>
          <p:nvPr/>
        </p:nvSpPr>
        <p:spPr>
          <a:xfrm>
            <a:off x="408590" y="2625346"/>
            <a:ext cx="11162582" cy="4270400"/>
          </a:xfrm>
          <a:prstGeom prst="rect">
            <a:avLst/>
          </a:prstGeom>
          <a:noFill/>
          <a:ln>
            <a:noFill/>
            <a:prstDash val="dash"/>
          </a:ln>
        </p:spPr>
        <p:txBody>
          <a:bodyPr wrap="square">
            <a:spAutoFit/>
          </a:bodyPr>
          <a:lstStyle/>
          <a:p>
            <a:pPr marL="285750" lvl="4" indent="-285750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праве применить:</a:t>
            </a:r>
          </a:p>
          <a:p>
            <a:pPr marL="0" lvl="4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) состоящие на налоговом мониторинге при наличии оборотов по реализации, облагаемые по нулевой ставке;</a:t>
            </a:r>
          </a:p>
          <a:p>
            <a:pPr marL="0" lvl="4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) остальные НП - если обороты по нулевой ставке не менее 50 процентов от общего оборота</a:t>
            </a: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400" i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сегодня право на УПВ имеют крупные предприятия мониторинга, производители и сырья по утвержденным перечням (3 перечня)</a:t>
            </a:r>
            <a:endParaRPr lang="ru-RU" sz="140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ДС подлежит возврату, при одновременном соответствии условиям:</a:t>
            </a: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) отсутствия неисполненного уведомления (на сегодня – при своевременном представлении налоговой отчетности);</a:t>
            </a: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) наличия НДС, подтвержденного к возврату по результатам проверки в течение года.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ок  возврата – 15 рабочих дней с даты требования </a:t>
            </a:r>
            <a:r>
              <a:rPr lang="ru-RU" sz="1400" i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на сегодня с даты истечения срока представления налоговой отчетности с учетом отсрочки)</a:t>
            </a:r>
            <a:r>
              <a:rPr lang="ru-RU" sz="1600" i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няется система управления рисками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т ограничений по сумме </a:t>
            </a:r>
            <a:r>
              <a:rPr lang="ru-RU" sz="1400" i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на сегодня для крупных НП не более 70%, для производителей не более 50%, для экспортеров сырья не более 80%)</a:t>
            </a:r>
            <a:endParaRPr lang="ru-RU" sz="140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157147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 algn="ctr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ИЗМЕНЕНИЕ  СРОКОВ УПЛАТЫ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/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15</a:t>
            </a:fld>
            <a:endParaRPr lang="en-US" sz="105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514709" y="1317982"/>
            <a:ext cx="11162582" cy="2708434"/>
          </a:xfrm>
          <a:prstGeom prst="rect">
            <a:avLst/>
          </a:prstGeom>
          <a:noFill/>
          <a:ln>
            <a:noFill/>
            <a:prstDash val="dash"/>
          </a:ln>
        </p:spPr>
        <p:txBody>
          <a:bodyPr wrap="square">
            <a:spAutoFit/>
          </a:bodyPr>
          <a:lstStyle/>
          <a:p>
            <a:pPr marL="0" lvl="4" indent="442913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менение сроков исполнения налогового обязательства по уплате осуществляется в формах:</a:t>
            </a:r>
          </a:p>
          <a:p>
            <a:pPr marL="0" lvl="4" indent="442913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) отсрочки (рассрочки) по уплате налогов и (или) плат;</a:t>
            </a:r>
          </a:p>
          <a:p>
            <a:pPr marL="0" lvl="4" indent="442913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) изменения срока уплаты налога на добавленную стоимость по импортируемым товарам;</a:t>
            </a:r>
          </a:p>
          <a:p>
            <a:pPr marL="0" lvl="4" indent="442913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) отсрочки по уплате государственной пошлины.</a:t>
            </a:r>
          </a:p>
          <a:p>
            <a:pPr marL="285750" lvl="4" indent="-285750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sz="2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60589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A4398A-5718-5E49-CD73-9B9B60FDE4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FEDD44C3-0560-60CD-8ED4-01085B8C7AC7}"/>
              </a:ext>
            </a:extLst>
          </p:cNvPr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algn="ctr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КАМЕРАЛЬНЫЙ КОНТРОЛЬ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D4AB323-5BA9-0790-3484-9A1B579DC645}"/>
              </a:ext>
            </a:extLst>
          </p:cNvPr>
          <p:cNvSpPr txBox="1"/>
          <p:nvPr/>
        </p:nvSpPr>
        <p:spPr>
          <a:xfrm>
            <a:off x="202220" y="1589664"/>
            <a:ext cx="11737731" cy="20844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Выделен отдельно из камерального контроля анализ ЭСФ</a:t>
            </a:r>
          </a:p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Проводится за соответствующий налоговый период после истечения срока представления налоговой отчетности;</a:t>
            </a:r>
          </a:p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Проводится в течение срока исковой давности</a:t>
            </a:r>
          </a:p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При выявлении расхождений направляется уведомление о предполагаемых расхождениях по результатам камерального контроля</a:t>
            </a:r>
          </a:p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sz="1600" kern="100" dirty="0">
              <a:solidFill>
                <a:srgbClr val="002060"/>
              </a:solidFill>
              <a:latin typeface="Arial" pitchFamily="34" charset="0"/>
              <a:ea typeface="Tahoma" pitchFamily="34" charset="0"/>
              <a:cs typeface="Arial" pitchFamily="34" charset="0"/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D601911B-F5F7-05CC-AB48-263451AEA87B}"/>
              </a:ext>
            </a:extLst>
          </p:cNvPr>
          <p:cNvSpPr/>
          <p:nvPr/>
        </p:nvSpPr>
        <p:spPr>
          <a:xfrm>
            <a:off x="202223" y="1039999"/>
            <a:ext cx="11737731" cy="5397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роведение камерального контроля </a:t>
            </a:r>
            <a:endParaRPr lang="ru-RU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EE623F9-3E13-652D-D37C-8B121858EE2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0"/>
            <a:fld id="{289D2AAD-CBA3-45A2-BC52-85323A4E0053}" type="slidenum">
              <a:rPr lang="en-US" noProof="0" smtClean="0"/>
              <a:pPr lvl="0"/>
              <a:t>16</a:t>
            </a:fld>
            <a:endParaRPr lang="en-US" noProof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32B3DF5D-5900-2F6D-4B1B-92CB9A793205}"/>
              </a:ext>
            </a:extLst>
          </p:cNvPr>
          <p:cNvSpPr/>
          <p:nvPr/>
        </p:nvSpPr>
        <p:spPr>
          <a:xfrm>
            <a:off x="227134" y="3522297"/>
            <a:ext cx="11737731" cy="46028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сполнение: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27134" y="3945146"/>
            <a:ext cx="11737731" cy="9041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3000"/>
              </a:lnSpc>
            </a:pP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при согласии - представляется налоговая отчетность, уплачивается сумма НДС ранее возвращенная из бюджета по требованию налогоплательщика (налогового агента), и пеня; </a:t>
            </a:r>
          </a:p>
          <a:p>
            <a:pPr algn="just">
              <a:lnSpc>
                <a:spcPct val="113000"/>
              </a:lnSpc>
            </a:pP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при несогласии - представляется пояснение. 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32B3DF5D-5900-2F6D-4B1B-92CB9A793205}"/>
              </a:ext>
            </a:extLst>
          </p:cNvPr>
          <p:cNvSpPr/>
          <p:nvPr/>
        </p:nvSpPr>
        <p:spPr>
          <a:xfrm>
            <a:off x="202220" y="5251731"/>
            <a:ext cx="11845847" cy="101959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зультат: </a:t>
            </a:r>
            <a:r>
              <a:rPr lang="ru-RU" sz="16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алоговый орган для подтверждения достоверности доводов, изложенных в пояснении, или при неисполнении уведомления в срок, вправе провести налоговую проверку по выявленным расхождениям по результатам камерального контроля</a:t>
            </a:r>
          </a:p>
        </p:txBody>
      </p:sp>
    </p:spTree>
    <p:extLst>
      <p:ext uri="{BB962C8B-B14F-4D97-AF65-F5344CB8AC3E}">
        <p14:creationId xmlns:p14="http://schemas.microsoft.com/office/powerpoint/2010/main" val="20381352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6"/>
            <a:ext cx="12192000" cy="713938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algn="ctr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АВТОМАТИЗИРОВАННЫЙ КОНТРОЛЬ ВЫПИСКИ ЭСФ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17</a:t>
            </a:fld>
            <a:endParaRPr lang="en-US" sz="105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400968" y="981121"/>
            <a:ext cx="11390063" cy="48628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spcAft>
                <a:spcPts val="3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няется при выписке ЭСФ рисковыми НП 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категории НП утверждается МФ РК: вновь зарегистрированные и прошедшие перерегистрацию плательщики НДС, имеющие минимальное количество работников и т.д.)</a:t>
            </a:r>
          </a:p>
          <a:p>
            <a:pPr marL="285750" lvl="4" indent="-285750" algn="just">
              <a:spcBef>
                <a:spcPts val="900"/>
              </a:spcBef>
              <a:spcAft>
                <a:spcPts val="3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няется в течение 1 года с начала выписки ЭСФ. При регулярных платежах в течение 6 месяцев – снимается с контроля</a:t>
            </a:r>
            <a:endParaRPr lang="ru-RU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spcAft>
                <a:spcPts val="3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писка ЭСФ только при положительном балансе НДС. При недостаточности баланса, НП имеют право  пополнить деньгами</a:t>
            </a:r>
          </a:p>
          <a:p>
            <a:pPr marL="285750" lvl="4" indent="-285750" algn="just">
              <a:spcBef>
                <a:spcPts val="900"/>
              </a:spcBef>
              <a:spcAft>
                <a:spcPts val="3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spcAft>
                <a:spcPts val="3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spcAft>
                <a:spcPts val="3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spcAft>
                <a:spcPts val="3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пользованные для выписки ЭСФ деньги поступают в бюджет, не использованные возвращаются.  </a:t>
            </a:r>
          </a:p>
          <a:p>
            <a:pPr marL="285750" lvl="4" indent="-285750" algn="just">
              <a:spcBef>
                <a:spcPts val="900"/>
              </a:spcBef>
              <a:spcAft>
                <a:spcPts val="3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ведения расчета создана аналитическая система по администрированию НДС. Баланс пересчитывается при каждом выписанном ЭСФ. </a:t>
            </a:r>
          </a:p>
          <a:p>
            <a:pPr marL="285750" lvl="4" indent="-285750" algn="just">
              <a:spcBef>
                <a:spcPts val="900"/>
              </a:spcBef>
              <a:spcAft>
                <a:spcPts val="3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атор автоматизированного контроля утверждается МФ РК 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00% дочерняя организация МФ РК – АО «ИУЦ»)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514225" y="3314996"/>
            <a:ext cx="11390063" cy="861774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>
            <a:spAutoFit/>
          </a:bodyPr>
          <a:lstStyle/>
          <a:p>
            <a:pPr marL="0" lvl="4" algn="just"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ланс НДС формируется с учетом расходов с НДС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НДС по </a:t>
            </a:r>
            <a:r>
              <a:rPr lang="ru-RU" sz="16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ученным ЭСФ 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 уплаченный НДС по </a:t>
            </a:r>
            <a:r>
              <a:rPr lang="ru-RU" sz="16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порту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+ НДС </a:t>
            </a:r>
            <a:r>
              <a:rPr lang="ru-RU" sz="16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резидента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+ НДС </a:t>
            </a:r>
            <a:r>
              <a:rPr lang="ru-RU" sz="16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остаткам 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варов при постановке на учет – НДС </a:t>
            </a:r>
            <a:r>
              <a:rPr lang="ru-RU" sz="16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выписанным 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СФ – НДС по остаткам товаров при снятии с учета)</a:t>
            </a:r>
            <a:endParaRPr lang="ru-RU" sz="800" b="1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093486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algn="ctr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   СОПОСТАВИТЕЛЬНЫЙ КОНТРОЛЬ ВЫПИСКИ ЭСФ</a:t>
            </a:r>
            <a:endParaRPr lang="en-US" sz="14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9217655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6" name="Прямая соединительная линия 3">
            <a:extLst>
              <a:ext uri="{FF2B5EF4-FFF2-40B4-BE49-F238E27FC236}">
                <a16:creationId xmlns:a16="http://schemas.microsoft.com/office/drawing/2014/main" id="{33EF3CB8-F416-4278-8646-A04DA7365D4D}"/>
              </a:ext>
            </a:extLst>
          </p:cNvPr>
          <p:cNvCxnSpPr>
            <a:cxnSpLocks/>
          </p:cNvCxnSpPr>
          <p:nvPr/>
        </p:nvCxnSpPr>
        <p:spPr>
          <a:xfrm flipV="1">
            <a:off x="5716861" y="990659"/>
            <a:ext cx="35999" cy="5294773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506185" y="1678521"/>
            <a:ext cx="10990398" cy="35009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ЛУЧАЕ ВЫЯВЛЕНИЯ СОМНИТЕЛЬНЫХ СДЕЛОК НАПРАВЛЯЕТСЯ УВЕДОМЛЕНИЯ О ПОДТВЕРЖДЕНИИ ФАКТИЧЕСКОГО СОВЕРШЕНИЯ ОБОРОТА ПО РЕАЛИЗАЦИИ ТОВАРОВ, ВЫПОЛНЕНИЮ РАБОТ И ОКАЗАНИЮ УСЛУГ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НЕ ИСПОЛНЕНИИ УВЕДОМЛЕНИЯ ДО УСТРАНЕНИЯ НАРУШЕНИЙ ПРИОСТАНАВЛИВАЕТСЯ ВЫПИСКА ЭСФ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ИСОК НАЛОГОПЛАТЕЛЬЩИКОВ, НЕ ИСПОЛНИВШИХ УВЕДОМЛЕНИЕ РАЗМЕЩАЮТСЯ НА ИНТЕРНЕТ-РЕСУРСЕ УПОЛНОМОЧЕННОГО ОРГАНА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КУПАТЕЛЯМ НАПРАВЛЯЕТСЯ ИЗВЕЩЕНИЕ ПО СОМНИТЕЛЬНЫМ ВЗАИМОРАСЧЕТАМ</a:t>
            </a:r>
            <a:endParaRPr lang="en-US" sz="1600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sz="900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sz="1200" b="1" i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sz="1000" b="1" i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sz="1000" b="1" i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06185" y="5666269"/>
            <a:ext cx="1105043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4" algn="ctr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остановление выписки ЭСФ отменяется в течение 1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.д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при устранении нарушений (причин)</a:t>
            </a:r>
            <a:endParaRPr lang="ru-RU" sz="1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04946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06A494-8E61-01B7-FA3F-72FDD54040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D0E7281F-3CB1-79A3-2422-70E949F5F234}"/>
              </a:ext>
            </a:extLst>
          </p:cNvPr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УКТУРА </a:t>
            </a:r>
            <a:r>
              <a:rPr kumimoji="0" lang="ru-RU" sz="2800" b="1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ОБЩЕЙ ЧАСТИ ПРОЕКТА НАЛОГОВОГО КОДЕКСА</a:t>
            </a: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A3B218D-539A-09F5-1298-D90BAAEA69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1BA5ADA1-87FA-937C-C09E-4E0E6B020460}"/>
              </a:ext>
            </a:extLst>
          </p:cNvPr>
          <p:cNvSpPr/>
          <p:nvPr/>
        </p:nvSpPr>
        <p:spPr>
          <a:xfrm>
            <a:off x="323756" y="1260630"/>
            <a:ext cx="11766428" cy="5378531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r>
              <a:rPr lang="ru-RU" sz="1600" b="1" dirty="0">
                <a:solidFill>
                  <a:schemeClr val="accent2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АЗДЕЛ 1. ОБЩИЕ ПОЛОЖЕНИЯ</a:t>
            </a:r>
            <a:endParaRPr lang="ru-KZ" sz="1600" b="1" dirty="0">
              <a:solidFill>
                <a:schemeClr val="accent2">
                  <a:lumMod val="7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47675"/>
            <a:r>
              <a:rPr lang="ru-RU" sz="1400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ЛАВА 1. Основные положения</a:t>
            </a:r>
            <a:endParaRPr lang="ru-KZ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47675"/>
            <a:r>
              <a:rPr lang="ru-RU" sz="1400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ЛАВА 2. Права и обязанности налогоплательщика и налогового агента. Представительство в налоговых отношениях. </a:t>
            </a:r>
            <a:endParaRPr lang="ru-KZ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47675"/>
            <a:r>
              <a:rPr lang="ru-RU" sz="1400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ЛАВА 3. Налоговые органы. Взаимодействие в налоговых отношениях</a:t>
            </a:r>
            <a:endParaRPr lang="ru-KZ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ru-RU" sz="1600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ru-KZ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ru-RU" sz="1600" b="1" dirty="0">
                <a:solidFill>
                  <a:schemeClr val="accent2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АЗДЕЛ 2. НАЛОГОВОЕ ОБЯЗАТЕЛЬСТВО</a:t>
            </a:r>
            <a:endParaRPr lang="ru-KZ" sz="1600" b="1" dirty="0">
              <a:solidFill>
                <a:schemeClr val="accent2">
                  <a:lumMod val="7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47675"/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ГЛАВА 4. Налоговое обязательство</a:t>
            </a:r>
            <a:endParaRPr lang="ru-KZ" sz="1400" dirty="0">
              <a:solidFill>
                <a:srgbClr val="002060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marL="447675"/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ГЛАВА 5. Исполнение налогового обязательства</a:t>
            </a:r>
            <a:endParaRPr lang="ru-KZ" sz="1400" dirty="0">
              <a:solidFill>
                <a:srgbClr val="002060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r>
              <a:rPr lang="ru-RU" sz="1600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ru-KZ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ru-RU" sz="1600" b="1" dirty="0">
                <a:solidFill>
                  <a:schemeClr val="accent2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АЗДЕЛ 3. НАЛОГОВОЕ АДМИНИСТРИРОВАНИЕ</a:t>
            </a:r>
            <a:endParaRPr lang="ru-KZ" sz="1600" b="1" dirty="0">
              <a:solidFill>
                <a:schemeClr val="accent2">
                  <a:lumMod val="7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47675"/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ГЛАВА 6. Налоговое администрирование</a:t>
            </a:r>
            <a:endParaRPr lang="ru-KZ" sz="1400" dirty="0">
              <a:solidFill>
                <a:srgbClr val="002060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marL="447675"/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ГЛАВА 7. Налоговая регистрация</a:t>
            </a:r>
            <a:endParaRPr lang="ru-KZ" sz="1400" dirty="0">
              <a:solidFill>
                <a:srgbClr val="002060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marL="447675"/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ГЛАВА 8. Применение контрольно-кассовых машин </a:t>
            </a:r>
            <a:endParaRPr lang="ru-KZ" sz="1400" dirty="0">
              <a:solidFill>
                <a:srgbClr val="002060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marL="447675"/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ГЛАВА 9. Налоговые формы</a:t>
            </a:r>
            <a:endParaRPr lang="ru-KZ" sz="1400" dirty="0">
              <a:solidFill>
                <a:srgbClr val="002060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marL="447675"/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ГЛАВА 10. Учет исполнения налогового обязательства, социального обязательства</a:t>
            </a:r>
            <a:endParaRPr lang="ru-KZ" sz="1400" dirty="0">
              <a:solidFill>
                <a:srgbClr val="002060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marL="447675"/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ГЛАВА 12. Камеральный контроль</a:t>
            </a:r>
            <a:endParaRPr lang="ru-KZ" sz="1400" dirty="0">
              <a:solidFill>
                <a:srgbClr val="002060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marL="447675"/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ГЛАВА 13. Контроль выписки электронных счетов-фактур</a:t>
            </a:r>
            <a:endParaRPr lang="ru-KZ" sz="1400" dirty="0">
              <a:solidFill>
                <a:srgbClr val="002060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marL="447675"/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ГЛАВА 14. Налоговый мониторинг</a:t>
            </a:r>
            <a:endParaRPr lang="ru-KZ" sz="1400" dirty="0">
              <a:solidFill>
                <a:srgbClr val="002060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marL="447675"/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ГЛАВА 15. Налоговый контроль</a:t>
            </a:r>
            <a:endParaRPr lang="ru-KZ" sz="1400" dirty="0">
              <a:solidFill>
                <a:srgbClr val="002060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marL="447675"/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ГЛАВА 16. Прочие формы контроля</a:t>
            </a:r>
            <a:endParaRPr lang="ru-KZ" sz="1400" dirty="0">
              <a:solidFill>
                <a:srgbClr val="002060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marL="447675"/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ГЛАВА 17. Принудительное исполнение налогового обязательства по уплате налогов и платежей в бюджет </a:t>
            </a:r>
            <a:endParaRPr lang="ru-KZ" sz="1400" dirty="0">
              <a:solidFill>
                <a:srgbClr val="002060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marL="447675"/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ГЛАВА 18. Порядок обжалования уведомления о результатах налоговой проверки и действий (бездействия) должностных лиц налоговых органов</a:t>
            </a:r>
            <a:endParaRPr lang="ru-KZ" sz="1400" dirty="0">
              <a:solidFill>
                <a:srgbClr val="002060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r>
              <a:rPr lang="ru-RU" sz="1600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ru-KZ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586799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algn="ctr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НАЛОГОВЫЙ МОНИТОРИНГ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07721" y="1028038"/>
            <a:ext cx="10893669" cy="46782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оговый мониторинг – сбор и анализ информации о деятельности отдельных категорий налогоплательщиков с целью контроля соблюдения налогового законодательства.</a:t>
            </a:r>
          </a:p>
          <a:p>
            <a:pPr algn="just"/>
            <a:endParaRPr lang="ru-RU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Виды налогового мониторинга:</a:t>
            </a:r>
          </a:p>
          <a:p>
            <a:pPr algn="just"/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) мониторинг крупных налогоплательщиков;</a:t>
            </a:r>
          </a:p>
          <a:p>
            <a:pPr algn="just"/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) горизонтальный мониторинг.</a:t>
            </a:r>
          </a:p>
          <a:p>
            <a:pPr algn="just"/>
            <a:endParaRPr lang="ru-RU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перечень включаются:</a:t>
            </a:r>
          </a:p>
          <a:p>
            <a:pPr marL="342900" indent="-342900" algn="just">
              <a:buFontTx/>
              <a:buChar char="-"/>
            </a:pP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вые 300 налогоплательщиков (ФА более 325 000 МРП, не менее 250 человек)</a:t>
            </a:r>
          </a:p>
          <a:p>
            <a:pPr marL="342900" indent="-342900" algn="just">
              <a:buFontTx/>
              <a:buChar char="-"/>
            </a:pP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атор и недропользователь по СРП</a:t>
            </a:r>
          </a:p>
          <a:p>
            <a:pPr marL="342900" indent="-342900" algn="just">
              <a:buFontTx/>
              <a:buChar char="-"/>
            </a:pP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латившие не менее 2 000 000 МРП (7,3 млрд.тенге)</a:t>
            </a:r>
          </a:p>
          <a:p>
            <a:pPr marL="342900" indent="-342900" algn="just">
              <a:buFontTx/>
              <a:buChar char="-"/>
            </a:pP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дропользователь (за исключением ОПИ)</a:t>
            </a:r>
          </a:p>
          <a:p>
            <a:pPr marL="342900" indent="-342900" algn="just">
              <a:buFontTx/>
              <a:buChar char="-"/>
            </a:pP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дропользователь – градообразующее предприятие</a:t>
            </a:r>
          </a:p>
          <a:p>
            <a:pPr algn="just"/>
            <a:endParaRPr lang="en-US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244710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A4398A-5718-5E49-CD73-9B9B60FDE4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FEDD44C3-0560-60CD-8ED4-01085B8C7AC7}"/>
              </a:ext>
            </a:extLst>
          </p:cNvPr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algn="ctr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НАЛОГОВЫЙ КОНТРОЛЬ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D4AB323-5BA9-0790-3484-9A1B579DC645}"/>
              </a:ext>
            </a:extLst>
          </p:cNvPr>
          <p:cNvSpPr txBox="1"/>
          <p:nvPr/>
        </p:nvSpPr>
        <p:spPr>
          <a:xfrm>
            <a:off x="454269" y="1187640"/>
            <a:ext cx="11737731" cy="14664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4" algn="just" fontAlgn="base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алоговый контроль </a:t>
            </a:r>
            <a:r>
              <a:rPr lang="ru-RU" sz="20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– государственный контроль, осуществляемый налоговыми органами, за исполнением норм налогового законодательства Республики Казахстан и иного законодательства Республики Казахстан и  осуществляется путем проведения 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алоговой проверки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EE623F9-3E13-652D-D37C-8B121858EE2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32B3DF5D-5900-2F6D-4B1B-92CB9A793205}"/>
              </a:ext>
            </a:extLst>
          </p:cNvPr>
          <p:cNvSpPr/>
          <p:nvPr/>
        </p:nvSpPr>
        <p:spPr>
          <a:xfrm>
            <a:off x="454269" y="3123161"/>
            <a:ext cx="11485686" cy="60726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снования налоговой проверки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889C615-CBFA-0122-1206-AEB33008B8FD}"/>
              </a:ext>
            </a:extLst>
          </p:cNvPr>
          <p:cNvSpPr txBox="1"/>
          <p:nvPr/>
        </p:nvSpPr>
        <p:spPr>
          <a:xfrm>
            <a:off x="454269" y="3805044"/>
            <a:ext cx="11404765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AutoNum type="arabicParenR"/>
            </a:pP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нициативные заявления, требования налогоплательщика</a:t>
            </a:r>
          </a:p>
          <a:p>
            <a:pPr algn="just"/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algn="just"/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2) решение правоохранительных органов</a:t>
            </a:r>
          </a:p>
          <a:p>
            <a:pPr algn="just"/>
            <a:endParaRPr lang="ru-RU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3) решение налогового органа о проведении налоговой проверки 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(порядок и основания  о проведении налоговой проверки определяется уполномоченным органом) </a:t>
            </a:r>
          </a:p>
          <a:p>
            <a:pPr algn="just"/>
            <a:endParaRPr lang="ru-RU" sz="1600" i="1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4) истечение срока действия контракта на недропользование, за исключением случаев переоформления права недропользования на лицензионный режим недропользования</a:t>
            </a:r>
          </a:p>
        </p:txBody>
      </p:sp>
    </p:spTree>
    <p:extLst>
      <p:ext uri="{BB962C8B-B14F-4D97-AF65-F5344CB8AC3E}">
        <p14:creationId xmlns:p14="http://schemas.microsoft.com/office/powerpoint/2010/main" val="109017671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661247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algn="ctr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ПРОЧИЕ ФОРМЫ КОНТРОЛЯ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88980" y="973393"/>
            <a:ext cx="11676184" cy="46333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354013" lvl="0" indent="279400" algn="just">
              <a:spcAft>
                <a:spcPts val="300"/>
              </a:spcAft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чие формы контроля в рамках налогового администрирования включают:</a:t>
            </a:r>
          </a:p>
          <a:p>
            <a:pPr marL="354013" lvl="0" indent="279400" algn="just">
              <a:spcAft>
                <a:spcPts val="300"/>
              </a:spcAf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4013" lvl="0" indent="279400" algn="just">
              <a:lnSpc>
                <a:spcPct val="150000"/>
              </a:lnSpc>
              <a:spcAft>
                <a:spcPts val="300"/>
              </a:spcAf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) контроль за подакцизными товарами, произведенными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ли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портированными в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К;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4013" lvl="0" indent="279400" algn="just">
              <a:lnSpc>
                <a:spcPct val="150000"/>
              </a:lnSpc>
              <a:spcAft>
                <a:spcPts val="300"/>
              </a:spcAf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) контроль при трансфертном ценообразовании;</a:t>
            </a:r>
          </a:p>
          <a:p>
            <a:pPr marL="354013" lvl="0" indent="279400" algn="just">
              <a:lnSpc>
                <a:spcPct val="150000"/>
              </a:lnSpc>
              <a:spcAft>
                <a:spcPts val="300"/>
              </a:spcAf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) контроль за соблюдением порядка учета, хранения, оценки, дальнейшего использования и реализации имущества, обращенного (поступившего) в собственность государства;</a:t>
            </a:r>
          </a:p>
          <a:p>
            <a:pPr marL="354013" lvl="0" indent="279400" algn="just">
              <a:lnSpc>
                <a:spcPct val="150000"/>
              </a:lnSpc>
              <a:spcAft>
                <a:spcPts val="300"/>
              </a:spcAf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) контроль за деятельностью уполномоченных государственных органов, местных исполнительных органов и Государственной корпорации;</a:t>
            </a:r>
          </a:p>
          <a:p>
            <a:pPr marL="354013" lvl="0" indent="279400" algn="just">
              <a:lnSpc>
                <a:spcPct val="150000"/>
              </a:lnSpc>
              <a:spcAft>
                <a:spcPts val="300"/>
              </a:spcAf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) контроль за соблюдением порядка оформления сопроводительных накладных на товары;</a:t>
            </a:r>
          </a:p>
          <a:p>
            <a:pPr marL="354013" lvl="0" indent="279400" algn="just">
              <a:lnSpc>
                <a:spcPct val="150000"/>
              </a:lnSpc>
              <a:spcAft>
                <a:spcPts val="300"/>
              </a:spcAf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) прослеживаемость оборота товаров, ввезенных на таможенную территорию ЕАЭС;</a:t>
            </a:r>
          </a:p>
          <a:p>
            <a:pPr marL="354013" lvl="0" indent="279400" algn="just">
              <a:lnSpc>
                <a:spcPct val="150000"/>
              </a:lnSpc>
              <a:spcAft>
                <a:spcPts val="300"/>
              </a:spcAf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) налоговое обследование.</a:t>
            </a:r>
          </a:p>
          <a:p>
            <a:pPr marL="354013" lvl="4" indent="279400" algn="just">
              <a:spcAft>
                <a:spcPts val="300"/>
              </a:spcAft>
              <a:buClr>
                <a:srgbClr val="000000"/>
              </a:buClr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2021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1"/>
            <a:ext cx="12192000" cy="1145095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200"/>
              </a:spcAft>
              <a:defRPr/>
            </a:pPr>
            <a:r>
              <a:rPr lang="ru-RU" sz="2800" b="1" dirty="0">
                <a:solidFill>
                  <a:schemeClr val="bg1"/>
                </a:solidFill>
                <a:latin typeface="Arial" panose="020B0604020202020204" pitchFamily="34" charset="0"/>
                <a:ea typeface="Roboto Condensed" panose="02000000000000000000" pitchFamily="2" charset="0"/>
                <a:cs typeface="Arial" panose="020B0604020202020204" pitchFamily="34" charset="0"/>
              </a:rPr>
              <a:t>ПРИНУДИТЕЛЬНОЕ ВЗЫСКАНИЕ </a:t>
            </a:r>
          </a:p>
          <a:p>
            <a:pPr algn="ctr">
              <a:spcAft>
                <a:spcPts val="1200"/>
              </a:spcAft>
              <a:defRPr/>
            </a:pPr>
            <a:r>
              <a:rPr lang="ru-RU" sz="2800" b="1" dirty="0">
                <a:solidFill>
                  <a:schemeClr val="bg1"/>
                </a:solidFill>
                <a:latin typeface="Arial" panose="020B0604020202020204" pitchFamily="34" charset="0"/>
                <a:ea typeface="Roboto Condensed" panose="02000000000000000000" pitchFamily="2" charset="0"/>
                <a:cs typeface="Arial" panose="020B0604020202020204" pitchFamily="34" charset="0"/>
              </a:rPr>
              <a:t>ПРИ НАЛИЧИИ НАЛОГОВОЙ ЗАДОЛЖЕННОСТИ 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4368FA4E-05C2-43DB-90E1-81B4250BB861}"/>
              </a:ext>
            </a:extLst>
          </p:cNvPr>
          <p:cNvSpPr/>
          <p:nvPr/>
        </p:nvSpPr>
        <p:spPr>
          <a:xfrm>
            <a:off x="457735" y="1583095"/>
            <a:ext cx="11276529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4013" indent="347663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и задолженности до 20 МРП 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– направление извещения об образовании налоговой задолженности, другие меры не применяются</a:t>
            </a:r>
          </a:p>
          <a:p>
            <a:pPr marL="354013" indent="347663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и задолженности от 20 до 45 МРП 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– направление уведомления о погашении налоговой задолженности, приостановление расходных операций по банковским счетам и кассе, выставление инкассового распоряжения</a:t>
            </a:r>
          </a:p>
          <a:p>
            <a:pPr marL="354013" indent="347663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и задолженности свыше 45 МРП 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– все меры, включая опись и реализацию имущества, взыскание за счет дебиторов, ограничение выезда </a:t>
            </a:r>
            <a:r>
              <a:rPr lang="ru-RU" sz="2000" i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в случае непогашения в течение 3-х месяцев на основании санкции суда)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банкротство</a:t>
            </a:r>
            <a:endParaRPr lang="en-US" sz="20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54013" indent="347663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ru-RU" sz="2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Увеличение порогового значения по неприменению способов и мер принудительного взыскания задолженности по социальным платежам </a:t>
            </a:r>
            <a:r>
              <a:rPr lang="ru-RU" sz="2000" b="1" i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о 6 МРП </a:t>
            </a:r>
            <a:r>
              <a:rPr lang="ru-RU" sz="2000" i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(ст. 256 Социального кодекса и ст. 31 ЗРК «Об обязательном  социальном медицинском  страховании»)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endParaRPr lang="ru-RU" sz="20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49688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D0E7281F-3CB1-79A3-2422-70E949F5F234}"/>
              </a:ext>
            </a:extLst>
          </p:cNvPr>
          <p:cNvSpPr/>
          <p:nvPr/>
        </p:nvSpPr>
        <p:spPr>
          <a:xfrm>
            <a:off x="0" y="-3877"/>
            <a:ext cx="12192000" cy="478890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algn="ctr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РАЗДЕЛ 1 «ОБЩИЕ ПОЛОЖЕНИЯ»</a:t>
            </a:r>
            <a:endParaRPr lang="ru-RU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EB7B6A8-7043-4760-941D-AF21ED1EEE9C}"/>
              </a:ext>
            </a:extLst>
          </p:cNvPr>
          <p:cNvSpPr txBox="1"/>
          <p:nvPr/>
        </p:nvSpPr>
        <p:spPr>
          <a:xfrm>
            <a:off x="324465" y="608980"/>
            <a:ext cx="11781717" cy="48713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0215" algn="just">
              <a:lnSpc>
                <a:spcPct val="150000"/>
              </a:lnSpc>
              <a:spcAft>
                <a:spcPts val="800"/>
              </a:spcAft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</a:t>
            </a:r>
            <a:r>
              <a:rPr lang="ru-RU" sz="1800" b="1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авовые основы налогообложения</a:t>
            </a:r>
          </a:p>
          <a:p>
            <a:pPr indent="450215" algn="just">
              <a:lnSpc>
                <a:spcPct val="150000"/>
              </a:lnSpc>
              <a:spcAft>
                <a:spcPts val="800"/>
              </a:spcAft>
            </a:pPr>
            <a:r>
              <a:rPr lang="ru-RU" sz="1800" b="1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инципы налогообложения</a:t>
            </a:r>
          </a:p>
          <a:p>
            <a:pPr indent="450215" algn="just">
              <a:lnSpc>
                <a:spcPct val="150000"/>
              </a:lnSpc>
              <a:spcAft>
                <a:spcPts val="800"/>
              </a:spcAft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Цель и задача налогового законодательства</a:t>
            </a:r>
          </a:p>
          <a:p>
            <a:pPr indent="450215" algn="just">
              <a:lnSpc>
                <a:spcPct val="150000"/>
              </a:lnSpc>
              <a:spcAft>
                <a:spcPts val="800"/>
              </a:spcAft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</a:t>
            </a:r>
            <a:r>
              <a:rPr lang="ru-RU" sz="1800" b="1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логовая политика, налоговые льготы, Методологический совет</a:t>
            </a:r>
          </a:p>
          <a:p>
            <a:pPr indent="450215" algn="just">
              <a:lnSpc>
                <a:spcPct val="150000"/>
              </a:lnSpc>
              <a:spcAft>
                <a:spcPts val="800"/>
              </a:spcAft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Порядок внесения изменений и дополнений в Налоговый кодекс</a:t>
            </a:r>
          </a:p>
          <a:p>
            <a:pPr indent="450215" algn="just"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Права и обязанности налогоплательщика</a:t>
            </a:r>
          </a:p>
          <a:p>
            <a:pPr indent="450215" algn="just"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Система налоговых органов, их задачи, права и обязанности</a:t>
            </a:r>
            <a:endParaRPr lang="ru-KZ" b="1" dirty="0">
              <a:solidFill>
                <a:srgbClr val="002060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indent="450215" algn="just"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Налоговая тайна</a:t>
            </a:r>
          </a:p>
          <a:p>
            <a:pPr indent="450215" algn="just">
              <a:lnSpc>
                <a:spcPct val="107000"/>
              </a:lnSpc>
              <a:spcAft>
                <a:spcPts val="800"/>
              </a:spcAft>
              <a:tabLst>
                <a:tab pos="90170" algn="l"/>
              </a:tabLst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Взаимодействие налогового органа с налогоплательщиком (налоговым агентом) </a:t>
            </a:r>
            <a:endParaRPr lang="ru-KZ" b="1" dirty="0">
              <a:solidFill>
                <a:srgbClr val="002060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marL="447675" indent="1588" algn="just">
              <a:lnSpc>
                <a:spcPct val="107000"/>
              </a:lnSpc>
              <a:spcAft>
                <a:spcPts val="800"/>
              </a:spcAft>
              <a:tabLst>
                <a:tab pos="90170" algn="l"/>
              </a:tabLst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Взаимодействие с уполномоченными государственными органами, местными исполнительными органами и иными 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лицами</a:t>
            </a:r>
            <a:endParaRPr lang="ru-KZ" sz="1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0244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D0E7281F-3CB1-79A3-2422-70E949F5F234}"/>
              </a:ext>
            </a:extLst>
          </p:cNvPr>
          <p:cNvSpPr/>
          <p:nvPr/>
        </p:nvSpPr>
        <p:spPr>
          <a:xfrm>
            <a:off x="0" y="-3878"/>
            <a:ext cx="12192000" cy="977271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algn="ctr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РАЗДЕЛ 2 «НАЛОГОВЫЕ ОБЯЗАТЕЛЬСТВА»</a:t>
            </a:r>
            <a:endParaRPr lang="ru-RU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EB7B6A8-7043-4760-941D-AF21ED1EEE9C}"/>
              </a:ext>
            </a:extLst>
          </p:cNvPr>
          <p:cNvSpPr txBox="1"/>
          <p:nvPr/>
        </p:nvSpPr>
        <p:spPr>
          <a:xfrm>
            <a:off x="445581" y="1303648"/>
            <a:ext cx="12020365" cy="47224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0215" algn="just">
              <a:lnSpc>
                <a:spcPct val="150000"/>
              </a:lnSpc>
              <a:spcAft>
                <a:spcPts val="800"/>
              </a:spcAft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бъект налогообложения, налоговая база, налоговая ставка, налоговый период</a:t>
            </a:r>
          </a:p>
          <a:p>
            <a:pPr indent="450215" algn="just">
              <a:lnSpc>
                <a:spcPct val="150000"/>
              </a:lnSpc>
              <a:spcAft>
                <a:spcPts val="800"/>
              </a:spcAft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рядок исполнения налогового обязательства и сроки его исполнения</a:t>
            </a:r>
          </a:p>
          <a:p>
            <a:pPr indent="450215" algn="just">
              <a:lnSpc>
                <a:spcPct val="150000"/>
              </a:lnSpc>
              <a:spcAft>
                <a:spcPts val="800"/>
              </a:spcAft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роки исковой давности по налоговому обязательству и требованию</a:t>
            </a:r>
          </a:p>
          <a:p>
            <a:pPr marL="447675" indent="1588" algn="just">
              <a:lnSpc>
                <a:spcPct val="107000"/>
              </a:lnSpc>
              <a:spcAft>
                <a:spcPts val="800"/>
              </a:spcAft>
              <a:tabLst>
                <a:tab pos="90170" algn="l"/>
              </a:tabLst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Исполнение отдельных налоговых обязательств при ликвидации, реорганизации и прекращении деятельности </a:t>
            </a:r>
            <a:endParaRPr lang="ru-KZ" b="1" dirty="0">
              <a:solidFill>
                <a:srgbClr val="002060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indent="450215" algn="just"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Обеспечение исполнения налогового обязательства</a:t>
            </a:r>
            <a:endParaRPr lang="ru-KZ" b="1" dirty="0">
              <a:solidFill>
                <a:srgbClr val="002060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indent="450215" algn="just">
              <a:lnSpc>
                <a:spcPct val="150000"/>
              </a:lnSpc>
              <a:spcAft>
                <a:spcPts val="800"/>
              </a:spcAft>
            </a:pP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indent="450215" algn="just">
              <a:lnSpc>
                <a:spcPct val="150000"/>
              </a:lnSpc>
              <a:spcAft>
                <a:spcPts val="800"/>
              </a:spcAft>
            </a:pPr>
            <a:endParaRPr lang="ru-KZ" b="1" dirty="0">
              <a:solidFill>
                <a:srgbClr val="002060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indent="450215">
              <a:lnSpc>
                <a:spcPct val="107000"/>
              </a:lnSpc>
              <a:spcAft>
                <a:spcPts val="800"/>
              </a:spcAft>
              <a:tabLst>
                <a:tab pos="90170" algn="l"/>
              </a:tabLst>
            </a:pPr>
            <a:r>
              <a:rPr lang="ru-RU" sz="1400" b="1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</a:p>
          <a:p>
            <a:pPr indent="450215">
              <a:lnSpc>
                <a:spcPct val="107000"/>
              </a:lnSpc>
              <a:spcAft>
                <a:spcPts val="800"/>
              </a:spcAft>
              <a:tabLst>
                <a:tab pos="90170" algn="l"/>
              </a:tabLst>
            </a:pPr>
            <a:endParaRPr lang="ru-KZ" sz="1600" b="1" dirty="0">
              <a:solidFill>
                <a:srgbClr val="00206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KZ" sz="1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59609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D0E7281F-3CB1-79A3-2422-70E949F5F234}"/>
              </a:ext>
            </a:extLst>
          </p:cNvPr>
          <p:cNvSpPr/>
          <p:nvPr/>
        </p:nvSpPr>
        <p:spPr>
          <a:xfrm>
            <a:off x="11229" y="-1"/>
            <a:ext cx="12192000" cy="970657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СПОСОБЫ ОБЕСПЕЧЕНИЯ ИСПОЛНЕНИЯ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НАЛОГОВОГО ОБЯЗАТЕЛЬСТВА</a:t>
            </a:r>
            <a:endParaRPr kumimoji="0" lang="ru-RU" sz="5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C4E58C36-1810-FBBB-52C0-AAF7078F8E4F}"/>
              </a:ext>
            </a:extLst>
          </p:cNvPr>
          <p:cNvSpPr/>
          <p:nvPr/>
        </p:nvSpPr>
        <p:spPr>
          <a:xfrm>
            <a:off x="201851" y="1439664"/>
            <a:ext cx="11810762" cy="4855405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АЧИСЛЕНИЕ ПЕНИ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ИОСТАНОВЛЕНИЕ РАСХОДНЫХ ОПЕРАЦИЙ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ГРАНИЧЕНИЕ В РАСПОРЯЖЕНИИ ИМУЩЕСТВОМ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ИОСТАНОВЛЕНИЕ ВЫПИСКИ ЭЛЕКТРОННЫХ СЧЕТОВ-ФАКТУР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ГРАНИЧЕНИЕ ДОСТУПА К ИНТЕРНЕТ-РЕСУРСАМ ИНОСТРАННОЙ КОМПАНИИ, ОСУЩЕСТВЛЯЮЩЕЙ ДЕЯТЕЛЬНОСТЬ ПОСРЕДСТВОМ ИНТЕРНЕТ-ПЛОЩАДКИ НА ТЕРРИТОРИИ РЕСПУБЛИКИ КАЗАХСТАН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023088" y="4422571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C4E58C36-1810-FBBB-52C0-AAF7078F8E4F}"/>
              </a:ext>
            </a:extLst>
          </p:cNvPr>
          <p:cNvSpPr/>
          <p:nvPr/>
        </p:nvSpPr>
        <p:spPr>
          <a:xfrm>
            <a:off x="190617" y="4973274"/>
            <a:ext cx="11810766" cy="44506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60825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D0E7281F-3CB1-79A3-2422-70E949F5F234}"/>
              </a:ext>
            </a:extLst>
          </p:cNvPr>
          <p:cNvSpPr/>
          <p:nvPr/>
        </p:nvSpPr>
        <p:spPr>
          <a:xfrm>
            <a:off x="11229" y="0"/>
            <a:ext cx="12192000" cy="825910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ДЕЛ 3 «НАЛОГОВОЕ АДМИНИСТРИРОВАНИЕ»  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C4E58C36-1810-FBBB-52C0-AAF7078F8E4F}"/>
              </a:ext>
            </a:extLst>
          </p:cNvPr>
          <p:cNvSpPr/>
          <p:nvPr/>
        </p:nvSpPr>
        <p:spPr>
          <a:xfrm>
            <a:off x="201851" y="1606859"/>
            <a:ext cx="11810762" cy="521119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360363" marR="0" lvl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алоговое администрирование – комплекс мероприятий налогового органа и иных уполномоченных государственных органов, направленных на обеспечение соблюдения налогового законодательства Республики Казахстан и иного законодательства Республики Казахстан, контроль за соблюдением которого возложен на налоговые органы, и создание условий для уплаты налогов и платежей в бюджет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60363"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алоговое администрирование включает:</a:t>
            </a:r>
          </a:p>
          <a:p>
            <a:pPr marL="360363"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) налоговую регистрацию;</a:t>
            </a:r>
          </a:p>
          <a:p>
            <a:pPr marL="360363"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) применение контрольно-кассовых машин;</a:t>
            </a:r>
          </a:p>
          <a:p>
            <a:pPr marL="360363"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3) прием налоговых форм;</a:t>
            </a:r>
          </a:p>
          <a:p>
            <a:pPr marL="360363"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4) учет исполнения налогового обязательства, обязанности по перечислению социальных платежей, штрафов и пени;</a:t>
            </a:r>
          </a:p>
          <a:p>
            <a:pPr marL="360363"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5) изменение сроков исполнения налогового обязательства;</a:t>
            </a:r>
          </a:p>
          <a:p>
            <a:pPr marL="360363"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6) камеральный контроль;</a:t>
            </a:r>
          </a:p>
          <a:p>
            <a:pPr marL="360363"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7) контроль выписки электронный счетов-фактур;</a:t>
            </a:r>
          </a:p>
          <a:p>
            <a:pPr marL="360363"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8) налоговый мониторинг; </a:t>
            </a:r>
          </a:p>
          <a:p>
            <a:pPr marL="360363"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9) налоговый контроль; </a:t>
            </a:r>
          </a:p>
          <a:p>
            <a:pPr marL="360363"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0) прочие формы контроля;</a:t>
            </a:r>
          </a:p>
          <a:p>
            <a:pPr marL="360363"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1) принудительное взыскание налоговой задолженности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023088" y="4422571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53863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D0E7281F-3CB1-79A3-2422-70E949F5F234}"/>
              </a:ext>
            </a:extLst>
          </p:cNvPr>
          <p:cNvSpPr/>
          <p:nvPr/>
        </p:nvSpPr>
        <p:spPr>
          <a:xfrm>
            <a:off x="0" y="-3877"/>
            <a:ext cx="12192000" cy="478890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algn="ctr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ИСКОВАЯ ДАВНОСТЬ ПО НАЛОГОВЫМ ОБЯЗАТЕЛЬСТВАМ</a:t>
            </a:r>
            <a:endParaRPr lang="ru-RU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EB7B6A8-7043-4760-941D-AF21ED1EEE9C}"/>
              </a:ext>
            </a:extLst>
          </p:cNvPr>
          <p:cNvSpPr txBox="1"/>
          <p:nvPr/>
        </p:nvSpPr>
        <p:spPr>
          <a:xfrm>
            <a:off x="62398" y="795293"/>
            <a:ext cx="12067214" cy="60149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indent="450215" algn="just">
              <a:lnSpc>
                <a:spcPct val="107000"/>
              </a:lnSpc>
              <a:spcAft>
                <a:spcPts val="800"/>
              </a:spcAft>
              <a:tabLst>
                <a:tab pos="90170" algn="l"/>
              </a:tabLst>
            </a:pPr>
            <a:r>
              <a:rPr lang="ru-RU" sz="2000" b="1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рок исковой давности составляет:</a:t>
            </a:r>
            <a:endParaRPr lang="ru-KZ" sz="2000" b="1" dirty="0">
              <a:solidFill>
                <a:srgbClr val="00206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indent="450215" algn="just">
              <a:lnSpc>
                <a:spcPct val="107000"/>
              </a:lnSpc>
              <a:spcAft>
                <a:spcPts val="800"/>
              </a:spcAft>
              <a:tabLst>
                <a:tab pos="90170" algn="l"/>
              </a:tabLst>
            </a:pPr>
            <a:r>
              <a:rPr lang="ru-RU" sz="2000" b="1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5 лет для:</a:t>
            </a:r>
            <a:endParaRPr lang="ru-KZ" sz="2000" b="1" dirty="0">
              <a:solidFill>
                <a:srgbClr val="00206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indent="450215" algn="just">
              <a:lnSpc>
                <a:spcPct val="107000"/>
              </a:lnSpc>
              <a:spcAft>
                <a:spcPts val="800"/>
              </a:spcAft>
              <a:tabLst>
                <a:tab pos="90170" algn="l"/>
              </a:tabLst>
            </a:pPr>
            <a:r>
              <a:rPr lang="ru-RU" sz="2000" b="1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 субъектов крупного предпринимательства;</a:t>
            </a:r>
            <a:endParaRPr lang="ru-KZ" sz="2000" b="1" dirty="0">
              <a:solidFill>
                <a:srgbClr val="00206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indent="450215" algn="just">
              <a:lnSpc>
                <a:spcPct val="107000"/>
              </a:lnSpc>
              <a:spcAft>
                <a:spcPts val="800"/>
              </a:spcAft>
              <a:tabLst>
                <a:tab pos="90170" algn="l"/>
              </a:tabLst>
            </a:pPr>
            <a:r>
              <a:rPr lang="ru-RU" sz="2000" b="1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 недропользователей;</a:t>
            </a:r>
            <a:endParaRPr lang="ru-KZ" sz="2000" b="1" dirty="0">
              <a:solidFill>
                <a:srgbClr val="00206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indent="450215" algn="just">
              <a:lnSpc>
                <a:spcPct val="107000"/>
              </a:lnSpc>
              <a:spcAft>
                <a:spcPts val="800"/>
              </a:spcAft>
            </a:pPr>
            <a:r>
              <a:rPr lang="ru-RU" sz="2000" b="1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 резидентов Республики Казахстан, имеющих контроль над иностранными компаниями;</a:t>
            </a:r>
            <a:endParaRPr lang="ru-KZ" sz="2000" b="1" dirty="0">
              <a:solidFill>
                <a:srgbClr val="00206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indent="450215" algn="just">
              <a:lnSpc>
                <a:spcPct val="107000"/>
              </a:lnSpc>
              <a:spcAft>
                <a:spcPts val="800"/>
              </a:spcAft>
            </a:pPr>
            <a:r>
              <a:rPr lang="ru-RU" sz="2000" b="1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 плательщиков НДС в отношении товаров, по которым применен метод зачета;</a:t>
            </a:r>
            <a:endParaRPr lang="ru-KZ" sz="2000" b="1" dirty="0">
              <a:solidFill>
                <a:srgbClr val="00206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indent="450215" algn="just">
              <a:lnSpc>
                <a:spcPct val="107000"/>
              </a:lnSpc>
              <a:spcAft>
                <a:spcPts val="800"/>
              </a:spcAft>
              <a:tabLst>
                <a:tab pos="90170" algn="l"/>
              </a:tabLst>
            </a:pPr>
            <a:endParaRPr lang="ru-RU" sz="2000" b="1" dirty="0">
              <a:solidFill>
                <a:srgbClr val="002060"/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450215" algn="just">
              <a:lnSpc>
                <a:spcPct val="107000"/>
              </a:lnSpc>
              <a:spcAft>
                <a:spcPts val="800"/>
              </a:spcAft>
              <a:tabLst>
                <a:tab pos="90170" algn="l"/>
              </a:tabLst>
            </a:pPr>
            <a:r>
              <a:rPr lang="ru-RU" sz="2000" b="1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3 года для иных налогоплательщиков</a:t>
            </a:r>
          </a:p>
          <a:p>
            <a:pPr indent="450215" algn="just">
              <a:lnSpc>
                <a:spcPct val="107000"/>
              </a:lnSpc>
              <a:spcAft>
                <a:spcPts val="800"/>
              </a:spcAft>
              <a:tabLst>
                <a:tab pos="90170" algn="l"/>
              </a:tabLst>
            </a:pPr>
            <a:endParaRPr lang="ru-RU" sz="2000" b="1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indent="450215" algn="just">
              <a:lnSpc>
                <a:spcPct val="107000"/>
              </a:lnSpc>
              <a:spcAft>
                <a:spcPts val="800"/>
              </a:spcAft>
              <a:tabLst>
                <a:tab pos="90170" algn="l"/>
              </a:tabLst>
            </a:pP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чение срока исковой давности по проверкам приостанавливается </a:t>
            </a:r>
          </a:p>
          <a:p>
            <a:pPr indent="450215" algn="just">
              <a:lnSpc>
                <a:spcPct val="107000"/>
              </a:lnSpc>
              <a:spcAft>
                <a:spcPts val="800"/>
              </a:spcAft>
              <a:tabLst>
                <a:tab pos="90170" algn="l"/>
              </a:tabLst>
            </a:pP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начала проведения до исполнения уведомления</a:t>
            </a:r>
          </a:p>
          <a:p>
            <a:pPr indent="450215" algn="just">
              <a:lnSpc>
                <a:spcPct val="107000"/>
              </a:lnSpc>
              <a:spcAft>
                <a:spcPts val="800"/>
              </a:spcAft>
              <a:tabLst>
                <a:tab pos="90170" algn="l"/>
              </a:tabLst>
            </a:pPr>
            <a:r>
              <a:rPr lang="ru-RU" sz="2000" b="1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  <a:p>
            <a:pPr indent="450215" algn="just">
              <a:lnSpc>
                <a:spcPct val="107000"/>
              </a:lnSpc>
              <a:spcAft>
                <a:spcPts val="800"/>
              </a:spcAft>
              <a:tabLst>
                <a:tab pos="90170" algn="l"/>
              </a:tabLst>
            </a:pPr>
            <a:endParaRPr lang="ru-KZ" sz="2000" b="1" dirty="0">
              <a:solidFill>
                <a:srgbClr val="00206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KZ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09595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6"/>
            <a:ext cx="12192000" cy="866096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1200"/>
              </a:spcAft>
              <a:defRPr/>
            </a:pPr>
            <a:r>
              <a:rPr lang="ru-RU" sz="2800" b="1" dirty="0">
                <a:solidFill>
                  <a:srgbClr val="002060"/>
                </a:solidFill>
                <a:latin typeface="Arial" panose="020B0604020202020204" pitchFamily="34" charset="0"/>
                <a:ea typeface="Roboto Condensed" panose="02000000000000000000" pitchFamily="2" charset="0"/>
                <a:cs typeface="Arial" panose="020B0604020202020204" pitchFamily="34" charset="0"/>
              </a:rPr>
              <a:t>                   </a:t>
            </a:r>
            <a:r>
              <a:rPr lang="ru-RU" sz="2800" b="1" dirty="0">
                <a:solidFill>
                  <a:schemeClr val="bg1"/>
                </a:solidFill>
                <a:latin typeface="Arial" panose="020B0604020202020204" pitchFamily="34" charset="0"/>
                <a:ea typeface="Roboto Condensed" panose="02000000000000000000" pitchFamily="2" charset="0"/>
                <a:cs typeface="Arial" panose="020B0604020202020204" pitchFamily="34" charset="0"/>
              </a:rPr>
              <a:t>ПРИОСТАНОВЛЕНИЕ РАСХОДНЫХ ОПЕРАЦИЙ 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0E7D0CCA-D21C-4CC9-BCFE-2FA27A21001B}"/>
              </a:ext>
            </a:extLst>
          </p:cNvPr>
          <p:cNvSpPr/>
          <p:nvPr/>
        </p:nvSpPr>
        <p:spPr>
          <a:xfrm>
            <a:off x="514093" y="946666"/>
            <a:ext cx="11163814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b="1" dirty="0">
                <a:solidFill>
                  <a:srgbClr val="002060"/>
                </a:solidFill>
                <a:latin typeface="Montserrat" pitchFamily="2" charset="-52"/>
                <a:ea typeface="Calibri" panose="020F0502020204030204" pitchFamily="34" charset="0"/>
                <a:cs typeface="Times New Roman" panose="02020603050405020304" pitchFamily="18" charset="0"/>
              </a:rPr>
              <a:t>   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иостановление расходных операции по банковским счетам:</a:t>
            </a:r>
          </a:p>
          <a:p>
            <a:pPr marL="358775" indent="-176213" algn="just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погашение налогоплательщиком (налоговым агентом) налоговой задолженности в сумме, превышающей предельный размер налоговой задолженности;</a:t>
            </a:r>
          </a:p>
          <a:p>
            <a:pPr marL="358775" indent="-176213" algn="just">
              <a:buFont typeface="Arial" panose="020B0604020202020204" pitchFamily="34" charset="0"/>
              <a:buChar char="•"/>
            </a:pP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8775" indent="-176213" algn="just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исполнение уведомления о постановке на регистрационный учет в налоговом органе;</a:t>
            </a:r>
          </a:p>
          <a:p>
            <a:pPr marL="358775" indent="-176213" algn="just">
              <a:buFont typeface="Arial" panose="020B0604020202020204" pitchFamily="34" charset="0"/>
              <a:buChar char="•"/>
            </a:pP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8775" indent="-176213" algn="just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допуск должностных лиц налогового органа к налоговой проверке и обследованию объектов налогообложения и (или) объектов, связанных с налогообложением;</a:t>
            </a:r>
          </a:p>
          <a:p>
            <a:pPr marL="358775" indent="-176213" algn="just">
              <a:buFont typeface="Arial" panose="020B0604020202020204" pitchFamily="34" charset="0"/>
              <a:buChar char="•"/>
            </a:pP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8775" indent="-176213" algn="just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исполнение уведомления о предполагаемых расхождениях по результатам камерального контроля;</a:t>
            </a:r>
          </a:p>
          <a:p>
            <a:pPr marL="358775" indent="-176213" algn="just">
              <a:buFont typeface="Arial" panose="020B0604020202020204" pitchFamily="34" charset="0"/>
              <a:buChar char="•"/>
            </a:pP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8775" indent="-176213" algn="just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исполнение уведомления о подтверждении дебиторской задолженности;</a:t>
            </a:r>
          </a:p>
          <a:p>
            <a:pPr marL="358775" indent="-176213" algn="just">
              <a:buFont typeface="Arial" panose="020B0604020202020204" pitchFamily="34" charset="0"/>
              <a:buChar char="•"/>
            </a:pP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8775" indent="-176213" algn="just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исполнение уведомления о подтверждении фактического совершения оборота по реализации товаров, выполнению работ и оказанию услуг.</a:t>
            </a:r>
          </a:p>
          <a:p>
            <a:pPr marL="182562" algn="just"/>
            <a:endParaRPr lang="ru-RU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 Приостановление расходных операции по кассе: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58775" indent="-176213" algn="just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погашение налогоплательщиком (налоговым агентом) налоговой задолженности в сумме, превышающей предельный размер налоговой задолженности.</a:t>
            </a:r>
          </a:p>
          <a:p>
            <a:pPr marL="358775" indent="-176213" algn="just">
              <a:buFont typeface="Arial" panose="020B0604020202020204" pitchFamily="34" charset="0"/>
              <a:buChar char="•"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indent="266700" algn="just"/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поряжение о приостановлении расходных операций отменяется не позднее одного рабочего дня, следующего за днем устранения причин приостановления расходных операций</a:t>
            </a: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5337222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06A494-8E61-01B7-FA3F-72FDD54040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D0E7281F-3CB1-79A3-2422-70E949F5F234}"/>
              </a:ext>
            </a:extLst>
          </p:cNvPr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ИСТЕМА УПРАВЛЕНИЯ НАЛОГОВЫМИ РИСКАМИ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A3B218D-539A-09F5-1298-D90BAAEA69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176B006-6A0E-DA49-58FA-6740C0AC4B53}"/>
              </a:ext>
            </a:extLst>
          </p:cNvPr>
          <p:cNvSpPr txBox="1"/>
          <p:nvPr/>
        </p:nvSpPr>
        <p:spPr>
          <a:xfrm>
            <a:off x="244719" y="1428075"/>
            <a:ext cx="11702561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4" indent="3619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000000"/>
              </a:buClr>
              <a:buSzTx/>
              <a:buFontTx/>
              <a:buNone/>
              <a:tabLst>
                <a:tab pos="10281920" algn="l"/>
              </a:tabLst>
              <a:defRPr/>
            </a:pPr>
            <a:r>
              <a:rPr kumimoji="0" lang="ru-RU" sz="18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Исключается категорирование налогоплательщиков путем отнесения их к категориям низкой, средней или высокой степени риска</a:t>
            </a:r>
          </a:p>
          <a:p>
            <a:pPr marL="0" marR="0" lvl="4" indent="3619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000000"/>
              </a:buClr>
              <a:buSzTx/>
              <a:buFontTx/>
              <a:buNone/>
              <a:tabLst>
                <a:tab pos="10281920" algn="l"/>
              </a:tabLst>
              <a:defRPr/>
            </a:pPr>
            <a:endParaRPr kumimoji="0" lang="ru-RU" sz="1800" b="0" i="0" u="none" strike="noStrike" kern="1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4" indent="3619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000000"/>
              </a:buClr>
              <a:buSzTx/>
              <a:buFontTx/>
              <a:buNone/>
              <a:tabLst>
                <a:tab pos="10281920" algn="l"/>
              </a:tabLst>
              <a:defRPr/>
            </a:pPr>
            <a:r>
              <a:rPr kumimoji="0" lang="ru-RU" sz="18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Исключается отбор субъектов периодической налоговой проверки на основе оценки степени риска</a:t>
            </a:r>
          </a:p>
          <a:p>
            <a:pPr marL="0" marR="0" lvl="4" indent="3619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000000"/>
              </a:buClr>
              <a:buSzTx/>
              <a:buFontTx/>
              <a:buNone/>
              <a:tabLst>
                <a:tab pos="10281920" algn="l"/>
              </a:tabLst>
              <a:defRPr/>
            </a:pPr>
            <a:endParaRPr kumimoji="0" lang="ru-RU" sz="1800" b="0" i="0" u="none" strike="noStrike" kern="1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4" indent="3619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000000"/>
              </a:buClr>
              <a:buSzTx/>
              <a:buFontTx/>
              <a:buNone/>
              <a:tabLst>
                <a:tab pos="10281920" algn="l"/>
              </a:tabLst>
              <a:defRPr/>
            </a:pPr>
            <a:r>
              <a:rPr kumimoji="0" lang="ru-RU" sz="18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едлагается перестроить систему управления налоговыми рисками, отойдя от системы оценки самих налогоплательщиков, на выявление самих рисков нарушения налогового законодательства</a:t>
            </a:r>
            <a:endParaRPr lang="ru-RU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0" marR="0" lvl="4" indent="3619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000000"/>
              </a:buClr>
              <a:buSzTx/>
              <a:buFontTx/>
              <a:buNone/>
              <a:tabLst>
                <a:tab pos="10281920" algn="l"/>
              </a:tabLst>
              <a:defRPr/>
            </a:pPr>
            <a:endParaRPr kumimoji="0" lang="ru-RU" sz="1800" b="0" i="0" u="none" strike="noStrike" kern="1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4" indent="3619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000000"/>
              </a:buClr>
              <a:buSzTx/>
              <a:buFontTx/>
              <a:buNone/>
              <a:tabLst>
                <a:tab pos="10281920" algn="l"/>
              </a:tabLst>
              <a:defRPr/>
            </a:pPr>
            <a:r>
              <a:rPr kumimoji="0" lang="ru-RU" sz="18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инятие мер информационно-предупредительного характера или обязательных к исполнению мер</a:t>
            </a:r>
          </a:p>
        </p:txBody>
      </p:sp>
    </p:spTree>
    <p:extLst>
      <p:ext uri="{BB962C8B-B14F-4D97-AF65-F5344CB8AC3E}">
        <p14:creationId xmlns:p14="http://schemas.microsoft.com/office/powerpoint/2010/main" val="14897688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Сектор">
  <a:themeElements>
    <a:clrScheme name="Сектор">
      <a:dk1>
        <a:sysClr val="windowText" lastClr="000000"/>
      </a:dk1>
      <a:lt1>
        <a:sysClr val="window" lastClr="FFFFFF"/>
      </a:lt1>
      <a:dk2>
        <a:srgbClr val="146194"/>
      </a:dk2>
      <a:lt2>
        <a:srgbClr val="76DBF4"/>
      </a:lt2>
      <a:accent1>
        <a:srgbClr val="052F61"/>
      </a:accent1>
      <a:accent2>
        <a:srgbClr val="A50E82"/>
      </a:accent2>
      <a:accent3>
        <a:srgbClr val="14967C"/>
      </a:accent3>
      <a:accent4>
        <a:srgbClr val="6A9E1F"/>
      </a:accent4>
      <a:accent5>
        <a:srgbClr val="E87D37"/>
      </a:accent5>
      <a:accent6>
        <a:srgbClr val="C62324"/>
      </a:accent6>
      <a:hlink>
        <a:srgbClr val="0D2E46"/>
      </a:hlink>
      <a:folHlink>
        <a:srgbClr val="356A95"/>
      </a:folHlink>
    </a:clrScheme>
    <a:fontScheme name="Сектор">
      <a:majorFont>
        <a:latin typeface="Century Gothic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ектор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hueMod val="94000"/>
                <a:satMod val="140000"/>
                <a:lumMod val="110000"/>
              </a:schemeClr>
            </a:gs>
            <a:gs pos="100000">
              <a:schemeClr val="phClr">
                <a:tint val="84000"/>
                <a:satMod val="16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hueMod val="94000"/>
                <a:satMod val="130000"/>
                <a:lumMod val="128000"/>
              </a:schemeClr>
            </a:gs>
            <a:gs pos="100000">
              <a:schemeClr val="phClr">
                <a:shade val="94000"/>
                <a:lumMod val="88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tint val="76000"/>
              <a:alpha val="60000"/>
              <a:hueMod val="94000"/>
            </a:schemeClr>
          </a:solidFill>
          <a:prstDash val="solid"/>
        </a:ln>
        <a:ln w="15875" cap="rnd" cmpd="sng" algn="ctr">
          <a:solidFill>
            <a:schemeClr val="phClr">
              <a:hueMod val="94000"/>
            </a:schemeClr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46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1000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lin ang="6120000" scaled="1"/>
        </a:gradFill>
        <a:gradFill rotWithShape="1">
          <a:gsLst>
            <a:gs pos="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path path="circle">
            <a:fillToRect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ce" id="{0507925B-6AC9-4358-8E18-C330545D08F8}" vid="{13FEC7C6-62A9-40C4-99D2-581AACACAA2F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6796</TotalTime>
  <Words>2348</Words>
  <Application>Microsoft Office PowerPoint</Application>
  <PresentationFormat>Широкоэкранный</PresentationFormat>
  <Paragraphs>296</Paragraphs>
  <Slides>23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3</vt:i4>
      </vt:variant>
    </vt:vector>
  </HeadingPairs>
  <TitlesOfParts>
    <vt:vector size="37" baseType="lpstr">
      <vt:lpstr>ＭＳ Ｐゴシック</vt:lpstr>
      <vt:lpstr>Arial</vt:lpstr>
      <vt:lpstr>Calibri</vt:lpstr>
      <vt:lpstr>Calibri Light</vt:lpstr>
      <vt:lpstr>Century Gothic</vt:lpstr>
      <vt:lpstr>Montserrat</vt:lpstr>
      <vt:lpstr>Roboto Condensed</vt:lpstr>
      <vt:lpstr>Tahoma</vt:lpstr>
      <vt:lpstr>Times New Roman</vt:lpstr>
      <vt:lpstr>Wingdings</vt:lpstr>
      <vt:lpstr>Wingdings 3</vt:lpstr>
      <vt:lpstr>1_Тема Office</vt:lpstr>
      <vt:lpstr>Сектор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арина Лазарева</dc:creator>
  <cp:lastModifiedBy>Мурзагалиева Лаззат Имангельдиевна  </cp:lastModifiedBy>
  <cp:revision>218</cp:revision>
  <cp:lastPrinted>2024-06-04T04:19:04Z</cp:lastPrinted>
  <dcterms:created xsi:type="dcterms:W3CDTF">2024-05-17T10:30:13Z</dcterms:created>
  <dcterms:modified xsi:type="dcterms:W3CDTF">2024-12-04T09:56:33Z</dcterms:modified>
</cp:coreProperties>
</file>